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6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7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8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9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10.xml" ContentType="application/vnd.openxmlformats-officedocument.theme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11.xml" ContentType="application/vnd.openxmlformats-officedocument.theme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heme/theme12.xml" ContentType="application/vnd.openxmlformats-officedocument.theme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heme/theme13.xml" ContentType="application/vnd.openxmlformats-officedocument.theme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theme/theme14.xml" ContentType="application/vnd.openxmlformats-officedocument.theme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theme/theme15.xml" ContentType="application/vnd.openxmlformats-officedocument.theme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theme/theme16.xml" ContentType="application/vnd.openxmlformats-officedocument.theme+xml"/>
  <Override PartName="/ppt/tags/tag1.xml" ContentType="application/vnd.openxmlformats-officedocument.presentationml.tags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theme/theme17.xml" ContentType="application/vnd.openxmlformats-officedocument.theme+xml"/>
  <Override PartName="/ppt/theme/theme18.xml" ContentType="application/vnd.openxmlformats-officedocument.theme+xml"/>
  <Override PartName="/ppt/theme/theme19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50" r:id="rId2"/>
    <p:sldMasterId id="2147483652" r:id="rId3"/>
    <p:sldMasterId id="2147483654" r:id="rId4"/>
    <p:sldMasterId id="2147483656" r:id="rId5"/>
    <p:sldMasterId id="2147483658" r:id="rId6"/>
    <p:sldMasterId id="2147483931" r:id="rId7"/>
    <p:sldMasterId id="2147487216" r:id="rId8"/>
    <p:sldMasterId id="2147487233" r:id="rId9"/>
    <p:sldMasterId id="2147487250" r:id="rId10"/>
    <p:sldMasterId id="2147487267" r:id="rId11"/>
    <p:sldMasterId id="2147487284" r:id="rId12"/>
    <p:sldMasterId id="2147487301" r:id="rId13"/>
    <p:sldMasterId id="2147487320" r:id="rId14"/>
    <p:sldMasterId id="2147487337" r:id="rId15"/>
    <p:sldMasterId id="2147487356" r:id="rId16"/>
    <p:sldMasterId id="2147487368" r:id="rId17"/>
  </p:sldMasterIdLst>
  <p:notesMasterIdLst>
    <p:notesMasterId r:id="rId28"/>
  </p:notesMasterIdLst>
  <p:handoutMasterIdLst>
    <p:handoutMasterId r:id="rId29"/>
  </p:handoutMasterIdLst>
  <p:sldIdLst>
    <p:sldId id="681" r:id="rId18"/>
    <p:sldId id="776" r:id="rId19"/>
    <p:sldId id="777" r:id="rId20"/>
    <p:sldId id="779" r:id="rId21"/>
    <p:sldId id="773" r:id="rId22"/>
    <p:sldId id="783" r:id="rId23"/>
    <p:sldId id="784" r:id="rId24"/>
    <p:sldId id="765" r:id="rId25"/>
    <p:sldId id="786" r:id="rId26"/>
    <p:sldId id="732" r:id="rId27"/>
  </p:sldIdLst>
  <p:sldSz cx="9144000" cy="6858000" type="screen4x3"/>
  <p:notesSz cx="6834188" cy="9979025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00"/>
    <a:srgbClr val="00CC00"/>
    <a:srgbClr val="F8F8F8"/>
    <a:srgbClr val="CBCDD3"/>
    <a:srgbClr val="DDDDDD"/>
    <a:srgbClr val="4D4D4D"/>
    <a:srgbClr val="D9DADD"/>
    <a:srgbClr val="FF3399"/>
    <a:srgbClr val="FF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12" autoAdjust="0"/>
    <p:restoredTop sz="99822" autoAdjust="0"/>
  </p:normalViewPr>
  <p:slideViewPr>
    <p:cSldViewPr snapToGrid="0" snapToObjects="1">
      <p:cViewPr varScale="1">
        <p:scale>
          <a:sx n="74" d="100"/>
          <a:sy n="74" d="100"/>
        </p:scale>
        <p:origin x="-570" y="-90"/>
      </p:cViewPr>
      <p:guideLst>
        <p:guide orient="horz" pos="550"/>
        <p:guide pos="26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5" d="100"/>
        <a:sy n="125" d="100"/>
      </p:scale>
      <p:origin x="0" y="11322"/>
    </p:cViewPr>
  </p:sorter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1.xml"/><Relationship Id="rId26" Type="http://schemas.openxmlformats.org/officeDocument/2006/relationships/slide" Target="slides/slide9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4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8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3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7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6.xml"/><Relationship Id="rId28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2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5.xml"/><Relationship Id="rId27" Type="http://schemas.openxmlformats.org/officeDocument/2006/relationships/slide" Target="slides/slide10.xml"/><Relationship Id="rId30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015823753759042E-2"/>
          <c:y val="2.8125000000000001E-2"/>
          <c:w val="0.96537883963104298"/>
          <c:h val="0.847312500000000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5"/>
            <c:invertIfNegative val="0"/>
            <c:bubble3D val="0"/>
            <c:spPr>
              <a:solidFill>
                <a:schemeClr val="bg1"/>
              </a:solidFill>
              <a:ln w="38100">
                <a:solidFill>
                  <a:schemeClr val="accent1"/>
                </a:solidFill>
                <a:prstDash val="dash"/>
              </a:ln>
            </c:spPr>
          </c:dPt>
          <c:dPt>
            <c:idx val="6"/>
            <c:invertIfNegative val="0"/>
            <c:bubble3D val="0"/>
            <c:spPr>
              <a:solidFill>
                <a:schemeClr val="bg1"/>
              </a:solidFill>
              <a:ln w="38100">
                <a:solidFill>
                  <a:schemeClr val="accent1"/>
                </a:solidFill>
                <a:prstDash val="dash"/>
              </a:ln>
            </c:spPr>
          </c:dPt>
          <c:dPt>
            <c:idx val="7"/>
            <c:invertIfNegative val="0"/>
            <c:bubble3D val="0"/>
            <c:spPr>
              <a:solidFill>
                <a:schemeClr val="bg1"/>
              </a:solidFill>
              <a:ln w="38100">
                <a:solidFill>
                  <a:schemeClr val="accent1"/>
                </a:solidFill>
                <a:prstDash val="dash"/>
              </a:ln>
            </c:spPr>
          </c:dPt>
          <c:dPt>
            <c:idx val="8"/>
            <c:invertIfNegative val="0"/>
            <c:bubble3D val="0"/>
            <c:spPr>
              <a:solidFill>
                <a:schemeClr val="bg1"/>
              </a:solidFill>
              <a:ln w="38100">
                <a:solidFill>
                  <a:schemeClr val="accent1"/>
                </a:solidFill>
                <a:prstDash val="dash"/>
              </a:ln>
            </c:spPr>
          </c:dPt>
          <c:dPt>
            <c:idx val="9"/>
            <c:invertIfNegative val="0"/>
            <c:bubble3D val="0"/>
            <c:spPr>
              <a:solidFill>
                <a:schemeClr val="bg1"/>
              </a:solidFill>
              <a:ln w="38100">
                <a:solidFill>
                  <a:schemeClr val="accent1"/>
                </a:solidFill>
                <a:prstDash val="dash"/>
              </a:ln>
            </c:spPr>
          </c:dPt>
          <c:dPt>
            <c:idx val="10"/>
            <c:invertIfNegative val="0"/>
            <c:bubble3D val="0"/>
            <c:spPr>
              <a:solidFill>
                <a:schemeClr val="bg1"/>
              </a:solidFill>
              <a:ln w="38100">
                <a:solidFill>
                  <a:schemeClr val="accent1"/>
                </a:solidFill>
                <a:prstDash val="dash"/>
              </a:ln>
            </c:spPr>
          </c:dPt>
          <c:dPt>
            <c:idx val="11"/>
            <c:invertIfNegative val="0"/>
            <c:bubble3D val="0"/>
            <c:spPr>
              <a:solidFill>
                <a:schemeClr val="bg1"/>
              </a:solidFill>
              <a:ln w="38100">
                <a:solidFill>
                  <a:schemeClr val="accent1"/>
                </a:solidFill>
                <a:prstDash val="dash"/>
              </a:ln>
            </c:spPr>
          </c:dPt>
          <c:dPt>
            <c:idx val="12"/>
            <c:invertIfNegative val="0"/>
            <c:bubble3D val="0"/>
            <c:spPr>
              <a:solidFill>
                <a:schemeClr val="bg1"/>
              </a:solidFill>
              <a:ln w="38100">
                <a:solidFill>
                  <a:schemeClr val="accent1"/>
                </a:solidFill>
                <a:prstDash val="dash"/>
              </a:ln>
            </c:spPr>
          </c:dPt>
          <c:dLbls>
            <c:dLbl>
              <c:idx val="0"/>
              <c:layout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/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Tabelle1!$A$2:$A$14</c:f>
              <c:numCache>
                <c:formatCode>General</c:formatCode>
                <c:ptCount val="13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</c:numCache>
            </c:numRef>
          </c:cat>
          <c:val>
            <c:numRef>
              <c:f>Tabelle1!$B$2:$B$14</c:f>
              <c:numCache>
                <c:formatCode>General</c:formatCode>
                <c:ptCount val="13"/>
                <c:pt idx="0">
                  <c:v>3807</c:v>
                </c:pt>
                <c:pt idx="1">
                  <c:v>3850</c:v>
                </c:pt>
                <c:pt idx="2">
                  <c:v>4758</c:v>
                </c:pt>
                <c:pt idx="3">
                  <c:v>4684</c:v>
                </c:pt>
                <c:pt idx="4">
                  <c:v>6350</c:v>
                </c:pt>
                <c:pt idx="5">
                  <c:v>9500</c:v>
                </c:pt>
                <c:pt idx="6">
                  <c:v>10500</c:v>
                </c:pt>
                <c:pt idx="7">
                  <c:v>11175</c:v>
                </c:pt>
                <c:pt idx="8">
                  <c:v>11740</c:v>
                </c:pt>
                <c:pt idx="9">
                  <c:v>12600</c:v>
                </c:pt>
                <c:pt idx="10">
                  <c:v>13000</c:v>
                </c:pt>
                <c:pt idx="11">
                  <c:v>13700</c:v>
                </c:pt>
                <c:pt idx="12">
                  <c:v>150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-9"/>
        <c:axId val="214038784"/>
        <c:axId val="214638592"/>
      </c:barChart>
      <c:catAx>
        <c:axId val="2140387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pPr>
            <a:endParaRPr lang="de-DE"/>
          </a:p>
        </c:txPr>
        <c:crossAx val="214638592"/>
        <c:crosses val="autoZero"/>
        <c:auto val="1"/>
        <c:lblAlgn val="ctr"/>
        <c:lblOffset val="100"/>
        <c:noMultiLvlLbl val="0"/>
      </c:catAx>
      <c:valAx>
        <c:axId val="214638592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21403878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theme" Target="../theme/theme1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Fußzeilenplatzhalter 5"/>
          <p:cNvSpPr>
            <a:spLocks/>
          </p:cNvSpPr>
          <p:nvPr/>
        </p:nvSpPr>
        <p:spPr bwMode="auto">
          <a:xfrm>
            <a:off x="412793" y="9665038"/>
            <a:ext cx="4843539" cy="31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defTabSz="919652"/>
            <a:r>
              <a:rPr lang="en-US" sz="900">
                <a:latin typeface="CorpoS" pitchFamily="2" charset="0"/>
              </a:rPr>
              <a:t>Presentation title in CorpoS Regular 9 pt | Department | Date</a:t>
            </a:r>
          </a:p>
        </p:txBody>
      </p:sp>
      <p:sp>
        <p:nvSpPr>
          <p:cNvPr id="62467" name="Foliennummernplatzhalter 6"/>
          <p:cNvSpPr>
            <a:spLocks/>
          </p:cNvSpPr>
          <p:nvPr/>
        </p:nvSpPr>
        <p:spPr bwMode="auto">
          <a:xfrm>
            <a:off x="1" y="9665038"/>
            <a:ext cx="376136" cy="31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 defTabSz="919652"/>
            <a:fld id="{6EF6FCBE-D928-459C-BF18-01E8976E17EF}" type="slidenum">
              <a:rPr lang="en-US" sz="900">
                <a:latin typeface="CorpoS" pitchFamily="2" charset="0"/>
              </a:rPr>
              <a:pPr algn="ctr" defTabSz="919652"/>
              <a:t>‹Nr.›</a:t>
            </a:fld>
            <a:endParaRPr lang="en-US" sz="900">
              <a:latin typeface="CorpoS" pitchFamily="2" charset="0"/>
            </a:endParaRPr>
          </a:p>
        </p:txBody>
      </p:sp>
      <p:cxnSp>
        <p:nvCxnSpPr>
          <p:cNvPr id="8" name="Gerade Verbindung 7"/>
          <p:cNvCxnSpPr/>
          <p:nvPr/>
        </p:nvCxnSpPr>
        <p:spPr>
          <a:xfrm>
            <a:off x="412794" y="9653882"/>
            <a:ext cx="594644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2469" name="Picture 21" descr="WortMArke_1200dpi_0,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3372" y="9762263"/>
            <a:ext cx="862242" cy="1083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77668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theme" Target="../theme/theme1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3925" y="749300"/>
            <a:ext cx="4987925" cy="3740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536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21215" y="4740077"/>
            <a:ext cx="4991762" cy="4489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Erste Ebene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412793" y="9665038"/>
            <a:ext cx="4843539" cy="31398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defTabSz="919652">
              <a:defRPr sz="900">
                <a:latin typeface="CorpoS" pitchFamily="2" charset="0"/>
              </a:defRPr>
            </a:lvl1pPr>
          </a:lstStyle>
          <a:p>
            <a:pPr>
              <a:defRPr/>
            </a:pPr>
            <a:r>
              <a:rPr lang="de-DE"/>
              <a:t>Presentation title in CorpoS Regular 9 pt | Department | Dat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1" y="9665038"/>
            <a:ext cx="376136" cy="31398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defTabSz="919652">
              <a:defRPr sz="900">
                <a:latin typeface="CorpoS" pitchFamily="2" charset="0"/>
              </a:defRPr>
            </a:lvl1pPr>
          </a:lstStyle>
          <a:p>
            <a:pPr>
              <a:defRPr/>
            </a:pPr>
            <a:fld id="{3319F53C-B6C9-4D10-B84D-DCA11E3E8A29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cxnSp>
        <p:nvCxnSpPr>
          <p:cNvPr id="8" name="Gerade Verbindung 7"/>
          <p:cNvCxnSpPr/>
          <p:nvPr/>
        </p:nvCxnSpPr>
        <p:spPr>
          <a:xfrm>
            <a:off x="412794" y="9653882"/>
            <a:ext cx="594644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063" name="Picture 13" descr="WortMArke_1200dpi_0,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3372" y="9762263"/>
            <a:ext cx="862242" cy="1083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22412808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orpoS" pitchFamily="2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orpoS" pitchFamily="2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orpoS" pitchFamily="2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orpoS" pitchFamily="2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orpoS" pitchFamily="2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893545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1pPr>
            <a:lvl2pPr marL="704006" indent="-270771" defTabSz="893545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2pPr>
            <a:lvl3pPr marL="1083086" indent="-216618" defTabSz="893545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3pPr>
            <a:lvl4pPr marL="1516320" indent="-216618" defTabSz="893545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4pPr>
            <a:lvl5pPr marL="1949554" indent="-216618" defTabSz="893545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5pPr>
            <a:lvl6pPr marL="2382788" indent="-216618" defTabSz="893545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6pPr>
            <a:lvl7pPr marL="2816022" indent="-216618" defTabSz="893545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7pPr>
            <a:lvl8pPr marL="3249256" indent="-216618" defTabSz="893545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8pPr>
            <a:lvl9pPr marL="3682490" indent="-216618" defTabSz="893545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fld id="{4A078DC5-F377-47AD-867C-3A7273B49AE7}" type="slidenum">
              <a:rPr lang="de-DE" b="0" smtClean="0">
                <a:solidFill>
                  <a:srgbClr val="000000"/>
                </a:solidFill>
                <a:latin typeface="Arial" charset="0"/>
              </a:rPr>
              <a:pPr/>
              <a:t>2</a:t>
            </a:fld>
            <a:endParaRPr lang="de-DE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08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090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Fußzeilenplatzhalter 5"/>
          <p:cNvSpPr txBox="1">
            <a:spLocks noGrp="1"/>
          </p:cNvSpPr>
          <p:nvPr/>
        </p:nvSpPr>
        <p:spPr bwMode="auto">
          <a:xfrm>
            <a:off x="412619" y="9664812"/>
            <a:ext cx="4844449" cy="314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915988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 defTabSz="915988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 defTabSz="915988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 defTabSz="915988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 defTabSz="915988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eaLnBrk="1" hangingPunct="1"/>
            <a:r>
              <a:rPr lang="de-DE" sz="800" b="0">
                <a:solidFill>
                  <a:srgbClr val="000000"/>
                </a:solidFill>
              </a:rPr>
              <a:t>Presentation title in CorpoS Regular 9 pt | Department | Date</a:t>
            </a:r>
          </a:p>
        </p:txBody>
      </p:sp>
      <p:sp>
        <p:nvSpPr>
          <p:cNvPr id="88067" name="Foliennummernplatzhalter 6"/>
          <p:cNvSpPr txBox="1">
            <a:spLocks noGrp="1"/>
          </p:cNvSpPr>
          <p:nvPr/>
        </p:nvSpPr>
        <p:spPr bwMode="auto">
          <a:xfrm>
            <a:off x="1" y="9664812"/>
            <a:ext cx="375942" cy="314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915988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 defTabSz="915988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 defTabSz="915988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 defTabSz="915988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 defTabSz="915988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 eaLnBrk="1" hangingPunct="1"/>
            <a:fld id="{829B2456-30B6-44DB-B9DE-D681E3B2B6FD}" type="slidenum">
              <a:rPr lang="de-DE" sz="800" b="0">
                <a:solidFill>
                  <a:srgbClr val="000000"/>
                </a:solidFill>
              </a:rPr>
              <a:pPr algn="ctr" eaLnBrk="1" hangingPunct="1"/>
              <a:t>4</a:t>
            </a:fld>
            <a:endParaRPr lang="de-DE" sz="800" b="0">
              <a:solidFill>
                <a:srgbClr val="000000"/>
              </a:solidFill>
            </a:endParaRPr>
          </a:p>
        </p:txBody>
      </p:sp>
      <p:sp>
        <p:nvSpPr>
          <p:cNvPr id="8806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8069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22338" y="747713"/>
            <a:ext cx="4989512" cy="374173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0AE9D3-C368-4E20-8655-A668C0AB6476}" type="slidenum">
              <a:rPr lang="de-DE" smtClean="0"/>
              <a:pPr>
                <a:defRPr/>
              </a:pPr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075610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22338" y="747713"/>
            <a:ext cx="4989512" cy="374173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0AE9D3-C368-4E20-8655-A668C0AB6476}" type="slidenum">
              <a:rPr lang="de-DE" smtClean="0"/>
              <a:pPr>
                <a:defRPr/>
              </a:pPr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075610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Fußzeilenplatzhalter 5"/>
          <p:cNvSpPr txBox="1">
            <a:spLocks noGrp="1"/>
          </p:cNvSpPr>
          <p:nvPr/>
        </p:nvSpPr>
        <p:spPr bwMode="auto">
          <a:xfrm>
            <a:off x="412794" y="9665039"/>
            <a:ext cx="4843539" cy="31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9159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59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59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59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59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de-DE" sz="900">
                <a:solidFill>
                  <a:prstClr val="black"/>
                </a:solidFill>
                <a:latin typeface="CorpoS" pitchFamily="2" charset="0"/>
              </a:rPr>
              <a:t>Presentation title in CorpoS Regular 9 pt | Department | Date</a:t>
            </a:r>
          </a:p>
        </p:txBody>
      </p:sp>
      <p:sp>
        <p:nvSpPr>
          <p:cNvPr id="95235" name="Foliennummernplatzhalter 6"/>
          <p:cNvSpPr txBox="1">
            <a:spLocks noGrp="1"/>
          </p:cNvSpPr>
          <p:nvPr/>
        </p:nvSpPr>
        <p:spPr bwMode="auto">
          <a:xfrm>
            <a:off x="0" y="9665039"/>
            <a:ext cx="376136" cy="31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9159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59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59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59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59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fld id="{44C7B5FA-019F-4A6D-ACFA-A036CE9D9D21}" type="slidenum">
              <a:rPr lang="de-DE" sz="900">
                <a:solidFill>
                  <a:prstClr val="black"/>
                </a:solidFill>
                <a:latin typeface="CorpoS" pitchFamily="2" charset="0"/>
              </a:rPr>
              <a:pPr algn="ctr" eaLnBrk="1" hangingPunct="1"/>
              <a:t>10</a:t>
            </a:fld>
            <a:endParaRPr lang="de-DE" sz="900">
              <a:solidFill>
                <a:prstClr val="black"/>
              </a:solidFill>
              <a:latin typeface="CorpoS" pitchFamily="2" charset="0"/>
            </a:endParaRPr>
          </a:p>
        </p:txBody>
      </p:sp>
      <p:sp>
        <p:nvSpPr>
          <p:cNvPr id="9523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5237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5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5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6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6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1.jpeg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6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6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7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gray"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6725" y="369888"/>
            <a:ext cx="8205788" cy="1258887"/>
          </a:xfrm>
        </p:spPr>
        <p:txBody>
          <a:bodyPr/>
          <a:lstStyle>
            <a:lvl1pPr>
              <a:lnSpc>
                <a:spcPts val="5000"/>
              </a:lnSpc>
              <a:defRPr sz="4500" smtClean="0"/>
            </a:lvl1pPr>
          </a:lstStyle>
          <a:p>
            <a:pPr lvl="0"/>
            <a:r>
              <a:rPr lang="en-US" noProof="0" smtClean="0"/>
              <a:t>Titelmasterformat durch Klicken bearbeiten</a:t>
            </a:r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6725" y="1978025"/>
            <a:ext cx="8205788" cy="3375025"/>
          </a:xfrm>
        </p:spPr>
        <p:txBody>
          <a:bodyPr/>
          <a:lstStyle>
            <a:lvl1pPr>
              <a:lnSpc>
                <a:spcPct val="100000"/>
              </a:lnSpc>
              <a:spcAft>
                <a:spcPct val="0"/>
              </a:spcAft>
              <a:defRPr sz="1500" smtClean="0"/>
            </a:lvl1pPr>
          </a:lstStyle>
          <a:p>
            <a:pPr lvl="0"/>
            <a:r>
              <a:rPr lang="en-US" noProof="0" smtClean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5531816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8D66D1-C819-49B8-BF08-3CC390A81706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2BE557-D1B6-42EE-8D47-5D8D34841F31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590172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de slide headline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for content page in CorpoA Regular 30 pt on two lines</a:t>
            </a:r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392C939-1ED3-44E9-8F6D-BD63CE96F489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9" hasCustomPrompt="1"/>
          </p:nvPr>
        </p:nvSpPr>
        <p:spPr>
          <a:xfrm>
            <a:off x="395288" y="1490400"/>
            <a:ext cx="8352000" cy="4905638"/>
          </a:xfrm>
        </p:spPr>
        <p:txBody>
          <a:bodyPr/>
          <a:lstStyle/>
          <a:p>
            <a:r>
              <a:rPr lang="en-US" noProof="0" smtClean="0"/>
              <a:t>Add image by clicking symbol</a:t>
            </a:r>
            <a:endParaRPr lang="en-US" noProof="0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7096943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page and caption beneath th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Headline for content page in CorpoA Regular 30 pt on two lines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 hasCustomPrompt="1"/>
          </p:nvPr>
        </p:nvSpPr>
        <p:spPr>
          <a:xfrm>
            <a:off x="395288" y="1490400"/>
            <a:ext cx="8352000" cy="4458880"/>
          </a:xfrm>
        </p:spPr>
        <p:txBody>
          <a:bodyPr/>
          <a:lstStyle/>
          <a:p>
            <a:r>
              <a:rPr lang="en-US" smtClean="0"/>
              <a:t>Add image by clicking symbol</a:t>
            </a:r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95288" y="6107810"/>
            <a:ext cx="8353425" cy="288032"/>
          </a:xfrm>
        </p:spPr>
        <p:txBody>
          <a:bodyPr tIns="0"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 baseline="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9pPr>
          </a:lstStyle>
          <a:p>
            <a:pPr lvl="0"/>
            <a:r>
              <a:rPr lang="en-US" dirty="0" smtClean="0"/>
              <a:t>Captions are in CorpoS 9 pt and are placed 0.4 cm beneath the image.</a:t>
            </a:r>
            <a:endParaRPr lang="de-DE" dirty="0" smtClean="0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smtClean="0"/>
              <a:t>Optional chapter heading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10979669-62B2-4874-BE74-4CB5E10FF4DA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 dirty="0" smtClean="0">
              <a:solidFill>
                <a:prstClr val="black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16008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624AA3-81AE-4F96-B3E2-D95FB6E1550F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6912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902CF5-0601-470E-BA9F-D4AD0B89D528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56684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page headline &amp;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for content page in CorpoA Regular 30 pt on two line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6000" y="3789040"/>
            <a:ext cx="8352000" cy="2602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Text slides are in CorpoS Regular, 20 pt.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 hasCustomPrompt="1"/>
          </p:nvPr>
        </p:nvSpPr>
        <p:spPr>
          <a:xfrm>
            <a:off x="395288" y="1490400"/>
            <a:ext cx="4140000" cy="216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 smtClean="0"/>
              <a:t>Add image by clicking symbol</a:t>
            </a:r>
            <a:endParaRPr lang="en-US" noProof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6" hasCustomPrompt="1"/>
          </p:nvPr>
        </p:nvSpPr>
        <p:spPr>
          <a:xfrm>
            <a:off x="4608464" y="1490400"/>
            <a:ext cx="4140000" cy="216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 smtClean="0"/>
              <a:t>Add image by clicking symbol</a:t>
            </a:r>
            <a:endParaRPr lang="en-US" noProof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880B2542-BA75-49B8-B1BF-7212B24A1588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4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542744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page headline &amp;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for content page in CorpoA Regular 30 pt on two line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44000" y="1484784"/>
            <a:ext cx="4104000" cy="4906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Text slides are in CorpoS Regular, 20 pt.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E89871-7EBD-4E6E-A0A7-A37F84616B8E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 hasCustomPrompt="1"/>
          </p:nvPr>
        </p:nvSpPr>
        <p:spPr>
          <a:xfrm>
            <a:off x="395288" y="1490400"/>
            <a:ext cx="4104000" cy="4899600"/>
          </a:xfrm>
        </p:spPr>
        <p:txBody>
          <a:bodyPr/>
          <a:lstStyle/>
          <a:p>
            <a:r>
              <a:rPr lang="en-US" noProof="0" smtClean="0"/>
              <a:t>Add image by clicking symbol</a:t>
            </a:r>
            <a:endParaRPr lang="en-US" noProof="0"/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247617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page image in type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57C36-4802-484F-8BA4-2EB847CF51C0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 hasCustomPrompt="1"/>
          </p:nvPr>
        </p:nvSpPr>
        <p:spPr>
          <a:xfrm>
            <a:off x="396000" y="377999"/>
            <a:ext cx="8352000" cy="6012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 smtClean="0"/>
              <a:t>Add image by clicking symbol</a:t>
            </a:r>
            <a:endParaRPr lang="en-US" noProof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916884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95288" y="370800"/>
            <a:ext cx="8352000" cy="1260000"/>
          </a:xfrm>
        </p:spPr>
        <p:txBody>
          <a:bodyPr/>
          <a:lstStyle>
            <a:lvl1pPr>
              <a:lnSpc>
                <a:spcPts val="5000"/>
              </a:lnSpc>
              <a:defRPr sz="4500"/>
            </a:lvl1pPr>
          </a:lstStyle>
          <a:p>
            <a:r>
              <a:rPr lang="en-US" noProof="0" dirty="0" smtClean="0"/>
              <a:t>Chapter heading 45 pt on two lines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96000" y="1936800"/>
            <a:ext cx="8352000" cy="33768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9pPr>
          </a:lstStyle>
          <a:p>
            <a:pPr lvl="6"/>
            <a:r>
              <a:rPr lang="en-US" noProof="0" dirty="0" smtClean="0"/>
              <a:t>Additional text for chapter heading 15pt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3DBB2-C1FF-4EAA-8D67-940CDE8B19D5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121194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96000" y="3639600"/>
            <a:ext cx="8352000" cy="1260000"/>
          </a:xfrm>
        </p:spPr>
        <p:txBody>
          <a:bodyPr/>
          <a:lstStyle>
            <a:lvl1pPr>
              <a:lnSpc>
                <a:spcPts val="5000"/>
              </a:lnSpc>
              <a:defRPr sz="4500"/>
            </a:lvl1pPr>
          </a:lstStyle>
          <a:p>
            <a:r>
              <a:rPr lang="en-US" noProof="0" dirty="0" smtClean="0"/>
              <a:t>Chapter heading 45 pt on two lines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96000" y="5205600"/>
            <a:ext cx="8352000" cy="11880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Additional text for chapter heading 15pt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4FCA7-9A29-4061-BA8E-B6F6C44991AD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342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Add image by clicking symbol</a:t>
            </a:r>
            <a:endParaRPr lang="de-DE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94560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for content page in CorpoA Regular 30 pt on two line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6000" y="1490399"/>
            <a:ext cx="8352000" cy="360000"/>
          </a:xfr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1500" b="1"/>
            </a:lvl1pPr>
            <a:lvl2pPr marL="0" indent="0">
              <a:buNone/>
              <a:defRPr sz="1500"/>
            </a:lvl2pPr>
            <a:lvl3pPr marL="0" indent="0">
              <a:buNone/>
              <a:defRPr sz="1500"/>
            </a:lvl3pPr>
            <a:lvl4pPr marL="0" indent="0">
              <a:buNone/>
              <a:defRPr sz="1500"/>
            </a:lvl4pPr>
            <a:lvl5pPr marL="0" indent="0">
              <a:buNone/>
              <a:defRPr sz="1500"/>
            </a:lvl5pPr>
            <a:lvl6pPr marL="0" indent="0">
              <a:buNone/>
              <a:defRPr sz="1500"/>
            </a:lvl6pPr>
            <a:lvl7pPr marL="0" indent="0">
              <a:buNone/>
              <a:defRPr sz="1500"/>
            </a:lvl7pPr>
            <a:lvl8pPr marL="0" indent="0">
              <a:buNone/>
              <a:defRPr sz="1500"/>
            </a:lvl8pPr>
            <a:lvl9pPr marL="0" indent="0">
              <a:buNone/>
              <a:defRPr sz="1500"/>
            </a:lvl9pPr>
          </a:lstStyle>
          <a:p>
            <a:pPr lvl="0"/>
            <a:r>
              <a:rPr lang="en-US" noProof="0" dirty="0" smtClean="0"/>
              <a:t>Edit text master format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BAE5370-4D3E-433C-ACC2-0FB7C6E2F72D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2" name="Inhaltsplatzhalter 2"/>
          <p:cNvSpPr>
            <a:spLocks noGrp="1"/>
          </p:cNvSpPr>
          <p:nvPr>
            <p:ph idx="18" hasCustomPrompt="1"/>
          </p:nvPr>
        </p:nvSpPr>
        <p:spPr>
          <a:xfrm>
            <a:off x="395536" y="2159999"/>
            <a:ext cx="8352000" cy="3805200"/>
          </a:xfr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1500" b="1"/>
            </a:lvl1pPr>
            <a:lvl2pPr marL="0" indent="0">
              <a:buNone/>
              <a:defRPr sz="1500"/>
            </a:lvl2pPr>
            <a:lvl3pPr marL="0" indent="0">
              <a:buNone/>
              <a:defRPr sz="1500"/>
            </a:lvl3pPr>
            <a:lvl4pPr marL="0" indent="0">
              <a:buNone/>
              <a:defRPr sz="1500"/>
            </a:lvl4pPr>
            <a:lvl5pPr marL="0" indent="0">
              <a:buNone/>
              <a:defRPr sz="1500"/>
            </a:lvl5pPr>
            <a:lvl6pPr marL="0" indent="0">
              <a:buNone/>
              <a:defRPr sz="1500"/>
            </a:lvl6pPr>
            <a:lvl7pPr marL="0" indent="0">
              <a:buNone/>
              <a:defRPr sz="1500"/>
            </a:lvl7pPr>
            <a:lvl8pPr marL="0" indent="0">
              <a:buNone/>
              <a:defRPr sz="1500"/>
            </a:lvl8pPr>
            <a:lvl9pPr marL="0" indent="0">
              <a:buNone/>
              <a:defRPr sz="1500"/>
            </a:lvl9pPr>
          </a:lstStyle>
          <a:p>
            <a:pPr lvl="0"/>
            <a:r>
              <a:rPr lang="en-US" noProof="0" dirty="0" smtClean="0"/>
              <a:t>Edit text master format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395288" y="6107810"/>
            <a:ext cx="8353425" cy="288032"/>
          </a:xfrm>
        </p:spPr>
        <p:txBody>
          <a:bodyPr tIns="0"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9pPr>
          </a:lstStyle>
          <a:p>
            <a:pPr lvl="0"/>
            <a:r>
              <a:rPr lang="en-US" noProof="0" dirty="0" smtClean="0"/>
              <a:t>Table captions are in CorpoS 9 pt and are placed 0.4 cm beneath the table.</a:t>
            </a:r>
          </a:p>
        </p:txBody>
      </p:sp>
    </p:spTree>
    <p:extLst>
      <p:ext uri="{BB962C8B-B14F-4D97-AF65-F5344CB8AC3E}">
        <p14:creationId xmlns:p14="http://schemas.microsoft.com/office/powerpoint/2010/main" val="8241148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60E2BA-9616-4568-B06D-2BFB1447BFEF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1D9B69-A075-41E6-94D6-B082FB6809A0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753994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857ED6-EE47-469F-9B10-9EEB651A6731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293140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A49D49-5047-4A4D-98D1-C52CB1B7E79B}" type="datetime3">
              <a:rPr lang="de-DE">
                <a:solidFill>
                  <a:prstClr val="black"/>
                </a:solidFill>
              </a:rPr>
              <a:pPr>
                <a:defRPr/>
              </a:pPr>
              <a:t>24/05/13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571231-EA01-486C-A691-1AA6F0E0F837}" type="slidenum">
              <a:rPr lang="de-DE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1981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67998" y="370287"/>
            <a:ext cx="8208000" cy="1260000"/>
          </a:xfrm>
        </p:spPr>
        <p:txBody>
          <a:bodyPr/>
          <a:lstStyle>
            <a:lvl1pPr>
              <a:lnSpc>
                <a:spcPts val="5000"/>
              </a:lnSpc>
              <a:defRPr sz="4500"/>
            </a:lvl1pPr>
          </a:lstStyle>
          <a:p>
            <a:r>
              <a:rPr lang="en-US" noProof="0" dirty="0" smtClean="0"/>
              <a:t>Presentation title 45 pt on two lines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8001" y="1936800"/>
            <a:ext cx="8209018" cy="33768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Additional text for presentation 15 pt</a:t>
            </a:r>
          </a:p>
          <a:p>
            <a:pPr lvl="0"/>
            <a:r>
              <a:rPr lang="en-US" noProof="0" dirty="0" smtClean="0"/>
              <a:t>First name, surname, department, place, date</a:t>
            </a:r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7559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s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67998" y="3638210"/>
            <a:ext cx="8208000" cy="1260000"/>
          </a:xfrm>
        </p:spPr>
        <p:txBody>
          <a:bodyPr/>
          <a:lstStyle>
            <a:lvl1pPr>
              <a:lnSpc>
                <a:spcPts val="5000"/>
              </a:lnSpc>
              <a:defRPr sz="4500"/>
            </a:lvl1pPr>
          </a:lstStyle>
          <a:p>
            <a:r>
              <a:rPr lang="en-US" noProof="0" dirty="0" smtClean="0"/>
              <a:t>Presentation title 45 pt on two lines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7998" y="5204381"/>
            <a:ext cx="5040000" cy="11880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Additional text for presentation 15 pt</a:t>
            </a:r>
          </a:p>
          <a:p>
            <a:pPr lvl="0"/>
            <a:r>
              <a:rPr lang="en-US" noProof="0" dirty="0" smtClean="0"/>
              <a:t>First name, surname, department</a:t>
            </a:r>
            <a:r>
              <a:rPr lang="en-US" noProof="0" smtClean="0"/>
              <a:t>, place, </a:t>
            </a:r>
            <a:r>
              <a:rPr lang="en-US" noProof="0" dirty="0" smtClean="0"/>
              <a:t>dat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342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Add image by clicking symbol</a:t>
            </a:r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73915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headline on two lines als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for content page in CorpoA Regular 30 pt on two line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Text slides are in CorpoS Regular, 20 pt.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F0FC925-DEDF-4CB0-B385-E4FE6B66FD47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223198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de slide headline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for content page in CorpoA Regular 30 pt on two lines</a:t>
            </a:r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392C939-1ED3-44E9-8F6D-BD63CE96F489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9" hasCustomPrompt="1"/>
          </p:nvPr>
        </p:nvSpPr>
        <p:spPr>
          <a:xfrm>
            <a:off x="395288" y="1490400"/>
            <a:ext cx="8352000" cy="4905638"/>
          </a:xfrm>
        </p:spPr>
        <p:txBody>
          <a:bodyPr/>
          <a:lstStyle/>
          <a:p>
            <a:r>
              <a:rPr lang="en-US" noProof="0" smtClean="0"/>
              <a:t>Add image by clicking symbol</a:t>
            </a:r>
            <a:endParaRPr lang="en-US" noProof="0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326046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page and caption beneath th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Headline for content page in CorpoA Regular 30 pt on two lines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 hasCustomPrompt="1"/>
          </p:nvPr>
        </p:nvSpPr>
        <p:spPr>
          <a:xfrm>
            <a:off x="395288" y="1490400"/>
            <a:ext cx="8352000" cy="4458880"/>
          </a:xfrm>
        </p:spPr>
        <p:txBody>
          <a:bodyPr/>
          <a:lstStyle/>
          <a:p>
            <a:r>
              <a:rPr lang="en-US" smtClean="0"/>
              <a:t>Add image by clicking symbol</a:t>
            </a:r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95288" y="6107810"/>
            <a:ext cx="8353425" cy="288032"/>
          </a:xfrm>
        </p:spPr>
        <p:txBody>
          <a:bodyPr tIns="0"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 baseline="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9pPr>
          </a:lstStyle>
          <a:p>
            <a:pPr lvl="0"/>
            <a:r>
              <a:rPr lang="en-US" dirty="0" smtClean="0"/>
              <a:t>Captions are in CorpoS 9 pt and are placed 0.4 cm beneath the image.</a:t>
            </a:r>
            <a:endParaRPr lang="de-DE" dirty="0" smtClean="0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smtClean="0"/>
              <a:t>Optional chapter heading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10979669-62B2-4874-BE74-4CB5E10FF4DA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 dirty="0" smtClean="0">
              <a:solidFill>
                <a:prstClr val="black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30039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624AA3-81AE-4F96-B3E2-D95FB6E1550F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8966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902CF5-0601-470E-BA9F-D4AD0B89D528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1126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page headline &amp;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for content page in CorpoA Regular 30 pt on two line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6000" y="3789040"/>
            <a:ext cx="8352000" cy="2602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Text slides are in CorpoS Regular, 20 pt.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 hasCustomPrompt="1"/>
          </p:nvPr>
        </p:nvSpPr>
        <p:spPr>
          <a:xfrm>
            <a:off x="395288" y="1490400"/>
            <a:ext cx="4140000" cy="216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 smtClean="0"/>
              <a:t>Add image by clicking symbol</a:t>
            </a:r>
            <a:endParaRPr lang="en-US" noProof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6" hasCustomPrompt="1"/>
          </p:nvPr>
        </p:nvSpPr>
        <p:spPr>
          <a:xfrm>
            <a:off x="4608464" y="1490400"/>
            <a:ext cx="4140000" cy="216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 smtClean="0"/>
              <a:t>Add image by clicking symbol</a:t>
            </a:r>
            <a:endParaRPr lang="en-US" noProof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880B2542-BA75-49B8-B1BF-7212B24A1588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4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0267998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57975" y="366713"/>
            <a:ext cx="2085975" cy="6024562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395288" y="366713"/>
            <a:ext cx="6110287" cy="6024562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BA2F4A-F4D6-4CB3-8282-A6952091250A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14AF55-98CB-4EC4-B2C3-4ED87EA5F1B9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614682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page headline &amp;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for content page in CorpoA Regular 30 pt on two line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44000" y="1484784"/>
            <a:ext cx="4104000" cy="4906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Text slides are in CorpoS Regular, 20 pt.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E89871-7EBD-4E6E-A0A7-A37F84616B8E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 hasCustomPrompt="1"/>
          </p:nvPr>
        </p:nvSpPr>
        <p:spPr>
          <a:xfrm>
            <a:off x="395288" y="1490400"/>
            <a:ext cx="4104000" cy="4899600"/>
          </a:xfrm>
        </p:spPr>
        <p:txBody>
          <a:bodyPr/>
          <a:lstStyle/>
          <a:p>
            <a:r>
              <a:rPr lang="en-US" noProof="0" smtClean="0"/>
              <a:t>Add image by clicking symbol</a:t>
            </a:r>
            <a:endParaRPr lang="en-US" noProof="0"/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1326595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page image in type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57C36-4802-484F-8BA4-2EB847CF51C0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 hasCustomPrompt="1"/>
          </p:nvPr>
        </p:nvSpPr>
        <p:spPr>
          <a:xfrm>
            <a:off x="396000" y="377999"/>
            <a:ext cx="8352000" cy="6012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 smtClean="0"/>
              <a:t>Add image by clicking symbol</a:t>
            </a:r>
            <a:endParaRPr lang="en-US" noProof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637349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95288" y="370800"/>
            <a:ext cx="8352000" cy="1260000"/>
          </a:xfrm>
        </p:spPr>
        <p:txBody>
          <a:bodyPr/>
          <a:lstStyle>
            <a:lvl1pPr>
              <a:lnSpc>
                <a:spcPts val="5000"/>
              </a:lnSpc>
              <a:defRPr sz="4500"/>
            </a:lvl1pPr>
          </a:lstStyle>
          <a:p>
            <a:r>
              <a:rPr lang="en-US" noProof="0" dirty="0" smtClean="0"/>
              <a:t>Chapter heading 45 pt on two lines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96000" y="1936800"/>
            <a:ext cx="8352000" cy="33768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9pPr>
          </a:lstStyle>
          <a:p>
            <a:pPr lvl="6"/>
            <a:r>
              <a:rPr lang="en-US" noProof="0" dirty="0" smtClean="0"/>
              <a:t>Additional text for chapter heading 15pt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3DBB2-C1FF-4EAA-8D67-940CDE8B19D5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7704481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96000" y="3639600"/>
            <a:ext cx="8352000" cy="1260000"/>
          </a:xfrm>
        </p:spPr>
        <p:txBody>
          <a:bodyPr/>
          <a:lstStyle>
            <a:lvl1pPr>
              <a:lnSpc>
                <a:spcPts val="5000"/>
              </a:lnSpc>
              <a:defRPr sz="4500"/>
            </a:lvl1pPr>
          </a:lstStyle>
          <a:p>
            <a:r>
              <a:rPr lang="en-US" noProof="0" dirty="0" smtClean="0"/>
              <a:t>Chapter heading 45 pt on two lines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96000" y="5205600"/>
            <a:ext cx="8352000" cy="11880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Additional text for chapter heading 15pt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4FCA7-9A29-4061-BA8E-B6F6C44991AD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342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Add image by clicking symbol</a:t>
            </a:r>
            <a:endParaRPr lang="de-DE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88678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for content page in CorpoA Regular 30 pt on two line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6000" y="1490399"/>
            <a:ext cx="8352000" cy="360000"/>
          </a:xfr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1500" b="1"/>
            </a:lvl1pPr>
            <a:lvl2pPr marL="0" indent="0">
              <a:buNone/>
              <a:defRPr sz="1500"/>
            </a:lvl2pPr>
            <a:lvl3pPr marL="0" indent="0">
              <a:buNone/>
              <a:defRPr sz="1500"/>
            </a:lvl3pPr>
            <a:lvl4pPr marL="0" indent="0">
              <a:buNone/>
              <a:defRPr sz="1500"/>
            </a:lvl4pPr>
            <a:lvl5pPr marL="0" indent="0">
              <a:buNone/>
              <a:defRPr sz="1500"/>
            </a:lvl5pPr>
            <a:lvl6pPr marL="0" indent="0">
              <a:buNone/>
              <a:defRPr sz="1500"/>
            </a:lvl6pPr>
            <a:lvl7pPr marL="0" indent="0">
              <a:buNone/>
              <a:defRPr sz="1500"/>
            </a:lvl7pPr>
            <a:lvl8pPr marL="0" indent="0">
              <a:buNone/>
              <a:defRPr sz="1500"/>
            </a:lvl8pPr>
            <a:lvl9pPr marL="0" indent="0">
              <a:buNone/>
              <a:defRPr sz="1500"/>
            </a:lvl9pPr>
          </a:lstStyle>
          <a:p>
            <a:pPr lvl="0"/>
            <a:r>
              <a:rPr lang="en-US" noProof="0" dirty="0" smtClean="0"/>
              <a:t>Edit text master format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BAE5370-4D3E-433C-ACC2-0FB7C6E2F72D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2" name="Inhaltsplatzhalter 2"/>
          <p:cNvSpPr>
            <a:spLocks noGrp="1"/>
          </p:cNvSpPr>
          <p:nvPr>
            <p:ph idx="18" hasCustomPrompt="1"/>
          </p:nvPr>
        </p:nvSpPr>
        <p:spPr>
          <a:xfrm>
            <a:off x="395536" y="2159999"/>
            <a:ext cx="8352000" cy="3805200"/>
          </a:xfr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1500" b="1"/>
            </a:lvl1pPr>
            <a:lvl2pPr marL="0" indent="0">
              <a:buNone/>
              <a:defRPr sz="1500"/>
            </a:lvl2pPr>
            <a:lvl3pPr marL="0" indent="0">
              <a:buNone/>
              <a:defRPr sz="1500"/>
            </a:lvl3pPr>
            <a:lvl4pPr marL="0" indent="0">
              <a:buNone/>
              <a:defRPr sz="1500"/>
            </a:lvl4pPr>
            <a:lvl5pPr marL="0" indent="0">
              <a:buNone/>
              <a:defRPr sz="1500"/>
            </a:lvl5pPr>
            <a:lvl6pPr marL="0" indent="0">
              <a:buNone/>
              <a:defRPr sz="1500"/>
            </a:lvl6pPr>
            <a:lvl7pPr marL="0" indent="0">
              <a:buNone/>
              <a:defRPr sz="1500"/>
            </a:lvl7pPr>
            <a:lvl8pPr marL="0" indent="0">
              <a:buNone/>
              <a:defRPr sz="1500"/>
            </a:lvl8pPr>
            <a:lvl9pPr marL="0" indent="0">
              <a:buNone/>
              <a:defRPr sz="1500"/>
            </a:lvl9pPr>
          </a:lstStyle>
          <a:p>
            <a:pPr lvl="0"/>
            <a:r>
              <a:rPr lang="en-US" noProof="0" dirty="0" smtClean="0"/>
              <a:t>Edit text master format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395288" y="6107810"/>
            <a:ext cx="8353425" cy="288032"/>
          </a:xfrm>
        </p:spPr>
        <p:txBody>
          <a:bodyPr tIns="0"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9pPr>
          </a:lstStyle>
          <a:p>
            <a:pPr lvl="0"/>
            <a:r>
              <a:rPr lang="en-US" noProof="0" dirty="0" smtClean="0"/>
              <a:t>Table captions are in CorpoS 9 pt and are placed 0.4 cm beneath the table.</a:t>
            </a:r>
          </a:p>
        </p:txBody>
      </p:sp>
    </p:spTree>
    <p:extLst>
      <p:ext uri="{BB962C8B-B14F-4D97-AF65-F5344CB8AC3E}">
        <p14:creationId xmlns:p14="http://schemas.microsoft.com/office/powerpoint/2010/main" val="1508542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857ED6-EE47-469F-9B10-9EEB651A6731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2586635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67998" y="370287"/>
            <a:ext cx="8208000" cy="1260000"/>
          </a:xfrm>
        </p:spPr>
        <p:txBody>
          <a:bodyPr/>
          <a:lstStyle>
            <a:lvl1pPr>
              <a:lnSpc>
                <a:spcPts val="5000"/>
              </a:lnSpc>
              <a:defRPr sz="4500"/>
            </a:lvl1pPr>
          </a:lstStyle>
          <a:p>
            <a:r>
              <a:rPr lang="en-US" noProof="0" dirty="0" smtClean="0"/>
              <a:t>Presentation title 45 pt on two lines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8001" y="1936800"/>
            <a:ext cx="8209018" cy="33768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Additional text for presentation 15 pt</a:t>
            </a:r>
          </a:p>
          <a:p>
            <a:pPr lvl="0"/>
            <a:r>
              <a:rPr lang="en-US" noProof="0" dirty="0" smtClean="0"/>
              <a:t>First name, surname, department, place, date</a:t>
            </a:r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9070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s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67998" y="3638210"/>
            <a:ext cx="8208000" cy="1260000"/>
          </a:xfrm>
        </p:spPr>
        <p:txBody>
          <a:bodyPr/>
          <a:lstStyle>
            <a:lvl1pPr>
              <a:lnSpc>
                <a:spcPts val="5000"/>
              </a:lnSpc>
              <a:defRPr sz="4500"/>
            </a:lvl1pPr>
          </a:lstStyle>
          <a:p>
            <a:r>
              <a:rPr lang="en-US" noProof="0" dirty="0" smtClean="0"/>
              <a:t>Presentation title 45 pt on two lines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7998" y="5204381"/>
            <a:ext cx="5040000" cy="11880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Additional text for presentation 15 pt</a:t>
            </a:r>
          </a:p>
          <a:p>
            <a:pPr lvl="0"/>
            <a:r>
              <a:rPr lang="en-US" noProof="0" dirty="0" smtClean="0"/>
              <a:t>First name, surname, department</a:t>
            </a:r>
            <a:r>
              <a:rPr lang="en-US" noProof="0" smtClean="0"/>
              <a:t>, place, </a:t>
            </a:r>
            <a:r>
              <a:rPr lang="en-US" noProof="0" dirty="0" smtClean="0"/>
              <a:t>dat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342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Add image by clicking symbol</a:t>
            </a:r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94034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headline on two lines als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for content page in CorpoA Regular 30 pt on two line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Text slides are in CorpoS Regular, 20 pt.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F0FC925-DEDF-4CB0-B385-E4FE6B66FD47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689173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de slide headline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for content page in CorpoA Regular 30 pt on two lines</a:t>
            </a:r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392C939-1ED3-44E9-8F6D-BD63CE96F489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9" hasCustomPrompt="1"/>
          </p:nvPr>
        </p:nvSpPr>
        <p:spPr>
          <a:xfrm>
            <a:off x="395288" y="1490400"/>
            <a:ext cx="8352000" cy="4905638"/>
          </a:xfrm>
        </p:spPr>
        <p:txBody>
          <a:bodyPr/>
          <a:lstStyle/>
          <a:p>
            <a:r>
              <a:rPr lang="en-US" noProof="0" smtClean="0"/>
              <a:t>Add image by clicking symbol</a:t>
            </a:r>
            <a:endParaRPr lang="en-US" noProof="0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010531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 and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366713"/>
            <a:ext cx="8348662" cy="90011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5288" y="1420813"/>
            <a:ext cx="8348662" cy="24082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95288" y="3981450"/>
            <a:ext cx="8348662" cy="2409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430A09-6F10-499C-A819-1E36012609DD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2AF7D3-90D7-4BF1-85C6-A2C30C6E5DF2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080247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page and caption beneath th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Headline for content page in CorpoA Regular 30 pt on two lines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 hasCustomPrompt="1"/>
          </p:nvPr>
        </p:nvSpPr>
        <p:spPr>
          <a:xfrm>
            <a:off x="395288" y="1490400"/>
            <a:ext cx="8352000" cy="4458880"/>
          </a:xfrm>
        </p:spPr>
        <p:txBody>
          <a:bodyPr/>
          <a:lstStyle/>
          <a:p>
            <a:r>
              <a:rPr lang="en-US" smtClean="0"/>
              <a:t>Add image by clicking symbol</a:t>
            </a:r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95288" y="6107810"/>
            <a:ext cx="8353425" cy="288032"/>
          </a:xfrm>
        </p:spPr>
        <p:txBody>
          <a:bodyPr tIns="0"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 baseline="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9pPr>
          </a:lstStyle>
          <a:p>
            <a:pPr lvl="0"/>
            <a:r>
              <a:rPr lang="en-US" dirty="0" smtClean="0"/>
              <a:t>Captions are in CorpoS 9 pt and are placed 0.4 cm beneath the image.</a:t>
            </a:r>
            <a:endParaRPr lang="de-DE" dirty="0" smtClean="0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smtClean="0"/>
              <a:t>Optional chapter heading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10979669-62B2-4874-BE74-4CB5E10FF4DA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 dirty="0" smtClean="0">
              <a:solidFill>
                <a:prstClr val="black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72411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624AA3-81AE-4F96-B3E2-D95FB6E1550F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1693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902CF5-0601-470E-BA9F-D4AD0B89D528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52409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page headline &amp;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for content page in CorpoA Regular 30 pt on two line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6000" y="3789040"/>
            <a:ext cx="8352000" cy="2602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Text slides are in CorpoS Regular, 20 pt.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 hasCustomPrompt="1"/>
          </p:nvPr>
        </p:nvSpPr>
        <p:spPr>
          <a:xfrm>
            <a:off x="395288" y="1490400"/>
            <a:ext cx="4140000" cy="216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 smtClean="0"/>
              <a:t>Add image by clicking symbol</a:t>
            </a:r>
            <a:endParaRPr lang="en-US" noProof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6" hasCustomPrompt="1"/>
          </p:nvPr>
        </p:nvSpPr>
        <p:spPr>
          <a:xfrm>
            <a:off x="4608464" y="1490400"/>
            <a:ext cx="4140000" cy="216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 smtClean="0"/>
              <a:t>Add image by clicking symbol</a:t>
            </a:r>
            <a:endParaRPr lang="en-US" noProof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880B2542-BA75-49B8-B1BF-7212B24A1588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4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866905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page headline &amp;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for content page in CorpoA Regular 30 pt on two line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44000" y="1484784"/>
            <a:ext cx="4104000" cy="4906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Text slides are in CorpoS Regular, 20 pt.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E89871-7EBD-4E6E-A0A7-A37F84616B8E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 hasCustomPrompt="1"/>
          </p:nvPr>
        </p:nvSpPr>
        <p:spPr>
          <a:xfrm>
            <a:off x="395288" y="1490400"/>
            <a:ext cx="4104000" cy="4899600"/>
          </a:xfrm>
        </p:spPr>
        <p:txBody>
          <a:bodyPr/>
          <a:lstStyle/>
          <a:p>
            <a:r>
              <a:rPr lang="en-US" noProof="0" smtClean="0"/>
              <a:t>Add image by clicking symbol</a:t>
            </a:r>
            <a:endParaRPr lang="en-US" noProof="0"/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643582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page image in type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57C36-4802-484F-8BA4-2EB847CF51C0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 hasCustomPrompt="1"/>
          </p:nvPr>
        </p:nvSpPr>
        <p:spPr>
          <a:xfrm>
            <a:off x="396000" y="377999"/>
            <a:ext cx="8352000" cy="6012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 smtClean="0"/>
              <a:t>Add image by clicking symbol</a:t>
            </a:r>
            <a:endParaRPr lang="en-US" noProof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5149057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95288" y="370800"/>
            <a:ext cx="8352000" cy="1260000"/>
          </a:xfrm>
        </p:spPr>
        <p:txBody>
          <a:bodyPr/>
          <a:lstStyle>
            <a:lvl1pPr>
              <a:lnSpc>
                <a:spcPts val="5000"/>
              </a:lnSpc>
              <a:defRPr sz="4500"/>
            </a:lvl1pPr>
          </a:lstStyle>
          <a:p>
            <a:r>
              <a:rPr lang="en-US" noProof="0" dirty="0" smtClean="0"/>
              <a:t>Chapter heading 45 pt on two lines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96000" y="1936800"/>
            <a:ext cx="8352000" cy="33768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9pPr>
          </a:lstStyle>
          <a:p>
            <a:pPr lvl="6"/>
            <a:r>
              <a:rPr lang="en-US" noProof="0" dirty="0" smtClean="0"/>
              <a:t>Additional text for chapter heading 15pt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3DBB2-C1FF-4EAA-8D67-940CDE8B19D5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6248163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96000" y="3639600"/>
            <a:ext cx="8352000" cy="1260000"/>
          </a:xfrm>
        </p:spPr>
        <p:txBody>
          <a:bodyPr/>
          <a:lstStyle>
            <a:lvl1pPr>
              <a:lnSpc>
                <a:spcPts val="5000"/>
              </a:lnSpc>
              <a:defRPr sz="4500"/>
            </a:lvl1pPr>
          </a:lstStyle>
          <a:p>
            <a:r>
              <a:rPr lang="en-US" noProof="0" dirty="0" smtClean="0"/>
              <a:t>Chapter heading 45 pt on two lines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96000" y="5205600"/>
            <a:ext cx="8352000" cy="11880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Additional text for chapter heading 15pt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4FCA7-9A29-4061-BA8E-B6F6C44991AD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342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Add image by clicking symbol</a:t>
            </a:r>
            <a:endParaRPr lang="de-DE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73103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for content page in CorpoA Regular 30 pt on two line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6000" y="1490399"/>
            <a:ext cx="8352000" cy="360000"/>
          </a:xfr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1500" b="1"/>
            </a:lvl1pPr>
            <a:lvl2pPr marL="0" indent="0">
              <a:buNone/>
              <a:defRPr sz="1500"/>
            </a:lvl2pPr>
            <a:lvl3pPr marL="0" indent="0">
              <a:buNone/>
              <a:defRPr sz="1500"/>
            </a:lvl3pPr>
            <a:lvl4pPr marL="0" indent="0">
              <a:buNone/>
              <a:defRPr sz="1500"/>
            </a:lvl4pPr>
            <a:lvl5pPr marL="0" indent="0">
              <a:buNone/>
              <a:defRPr sz="1500"/>
            </a:lvl5pPr>
            <a:lvl6pPr marL="0" indent="0">
              <a:buNone/>
              <a:defRPr sz="1500"/>
            </a:lvl6pPr>
            <a:lvl7pPr marL="0" indent="0">
              <a:buNone/>
              <a:defRPr sz="1500"/>
            </a:lvl7pPr>
            <a:lvl8pPr marL="0" indent="0">
              <a:buNone/>
              <a:defRPr sz="1500"/>
            </a:lvl8pPr>
            <a:lvl9pPr marL="0" indent="0">
              <a:buNone/>
              <a:defRPr sz="1500"/>
            </a:lvl9pPr>
          </a:lstStyle>
          <a:p>
            <a:pPr lvl="0"/>
            <a:r>
              <a:rPr lang="en-US" noProof="0" dirty="0" smtClean="0"/>
              <a:t>Edit text master format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BAE5370-4D3E-433C-ACC2-0FB7C6E2F72D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2" name="Inhaltsplatzhalter 2"/>
          <p:cNvSpPr>
            <a:spLocks noGrp="1"/>
          </p:cNvSpPr>
          <p:nvPr>
            <p:ph idx="18" hasCustomPrompt="1"/>
          </p:nvPr>
        </p:nvSpPr>
        <p:spPr>
          <a:xfrm>
            <a:off x="395536" y="2159999"/>
            <a:ext cx="8352000" cy="3805200"/>
          </a:xfr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1500" b="1"/>
            </a:lvl1pPr>
            <a:lvl2pPr marL="0" indent="0">
              <a:buNone/>
              <a:defRPr sz="1500"/>
            </a:lvl2pPr>
            <a:lvl3pPr marL="0" indent="0">
              <a:buNone/>
              <a:defRPr sz="1500"/>
            </a:lvl3pPr>
            <a:lvl4pPr marL="0" indent="0">
              <a:buNone/>
              <a:defRPr sz="1500"/>
            </a:lvl4pPr>
            <a:lvl5pPr marL="0" indent="0">
              <a:buNone/>
              <a:defRPr sz="1500"/>
            </a:lvl5pPr>
            <a:lvl6pPr marL="0" indent="0">
              <a:buNone/>
              <a:defRPr sz="1500"/>
            </a:lvl6pPr>
            <a:lvl7pPr marL="0" indent="0">
              <a:buNone/>
              <a:defRPr sz="1500"/>
            </a:lvl7pPr>
            <a:lvl8pPr marL="0" indent="0">
              <a:buNone/>
              <a:defRPr sz="1500"/>
            </a:lvl8pPr>
            <a:lvl9pPr marL="0" indent="0">
              <a:buNone/>
              <a:defRPr sz="1500"/>
            </a:lvl9pPr>
          </a:lstStyle>
          <a:p>
            <a:pPr lvl="0"/>
            <a:r>
              <a:rPr lang="en-US" noProof="0" dirty="0" smtClean="0"/>
              <a:t>Edit text master format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395288" y="6107810"/>
            <a:ext cx="8353425" cy="288032"/>
          </a:xfrm>
        </p:spPr>
        <p:txBody>
          <a:bodyPr tIns="0"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9pPr>
          </a:lstStyle>
          <a:p>
            <a:pPr lvl="0"/>
            <a:r>
              <a:rPr lang="en-US" noProof="0" dirty="0" smtClean="0"/>
              <a:t>Table captions are in CorpoS 9 pt and are placed 0.4 cm beneath the table.</a:t>
            </a:r>
          </a:p>
        </p:txBody>
      </p:sp>
    </p:spTree>
    <p:extLst>
      <p:ext uri="{BB962C8B-B14F-4D97-AF65-F5344CB8AC3E}">
        <p14:creationId xmlns:p14="http://schemas.microsoft.com/office/powerpoint/2010/main" val="5773234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857ED6-EE47-469F-9B10-9EEB651A6731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4738470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gray"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6725" y="369888"/>
            <a:ext cx="8205788" cy="1258887"/>
          </a:xfrm>
        </p:spPr>
        <p:txBody>
          <a:bodyPr/>
          <a:lstStyle>
            <a:lvl1pPr>
              <a:lnSpc>
                <a:spcPts val="5000"/>
              </a:lnSpc>
              <a:defRPr sz="4500"/>
            </a:lvl1pPr>
          </a:lstStyle>
          <a:p>
            <a:pPr lvl="0"/>
            <a:r>
              <a:rPr lang="en-US" noProof="0" smtClean="0"/>
              <a:t>Titelmasterformat durch Klicken bearbeiten</a:t>
            </a:r>
          </a:p>
        </p:txBody>
      </p:sp>
      <p:sp>
        <p:nvSpPr>
          <p:cNvPr id="1126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6725" y="1935163"/>
            <a:ext cx="8205788" cy="3375025"/>
          </a:xfrm>
        </p:spPr>
        <p:txBody>
          <a:bodyPr/>
          <a:lstStyle>
            <a:lvl1pPr>
              <a:lnSpc>
                <a:spcPct val="100000"/>
              </a:lnSpc>
              <a:spcAft>
                <a:spcPct val="0"/>
              </a:spcAft>
              <a:defRPr sz="1500"/>
            </a:lvl1pPr>
          </a:lstStyle>
          <a:p>
            <a:pPr lvl="0"/>
            <a:r>
              <a:rPr lang="en-US" noProof="0" smtClean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496747355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A49D49-5047-4A4D-98D1-C52CB1B7E79B}" type="datetime3">
              <a:rPr lang="de-DE">
                <a:solidFill>
                  <a:prstClr val="black"/>
                </a:solidFill>
              </a:rPr>
              <a:pPr>
                <a:defRPr/>
              </a:pPr>
              <a:t>24/05/13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571231-EA01-486C-A691-1AA6F0E0F837}" type="slidenum">
              <a:rPr lang="de-DE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6466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67998" y="370287"/>
            <a:ext cx="8208000" cy="1260000"/>
          </a:xfrm>
        </p:spPr>
        <p:txBody>
          <a:bodyPr/>
          <a:lstStyle>
            <a:lvl1pPr>
              <a:lnSpc>
                <a:spcPts val="5000"/>
              </a:lnSpc>
              <a:defRPr sz="4500"/>
            </a:lvl1pPr>
          </a:lstStyle>
          <a:p>
            <a:r>
              <a:rPr lang="en-US" noProof="0" dirty="0" smtClean="0"/>
              <a:t>Presentation title 45 pt on two lines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8001" y="1936800"/>
            <a:ext cx="8209018" cy="33768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Additional text for presentation 15 pt</a:t>
            </a:r>
          </a:p>
          <a:p>
            <a:pPr lvl="0"/>
            <a:r>
              <a:rPr lang="en-US" noProof="0" dirty="0" smtClean="0"/>
              <a:t>First name, surname, department, place, date</a:t>
            </a:r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270511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s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67998" y="3638210"/>
            <a:ext cx="8208000" cy="1260000"/>
          </a:xfrm>
        </p:spPr>
        <p:txBody>
          <a:bodyPr/>
          <a:lstStyle>
            <a:lvl1pPr>
              <a:lnSpc>
                <a:spcPts val="5000"/>
              </a:lnSpc>
              <a:defRPr sz="4500"/>
            </a:lvl1pPr>
          </a:lstStyle>
          <a:p>
            <a:r>
              <a:rPr lang="en-US" noProof="0" dirty="0" smtClean="0"/>
              <a:t>Presentation title 45 pt on two lines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7998" y="5204381"/>
            <a:ext cx="5040000" cy="11880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Additional text for presentation 15 pt</a:t>
            </a:r>
          </a:p>
          <a:p>
            <a:pPr lvl="0"/>
            <a:r>
              <a:rPr lang="en-US" noProof="0" dirty="0" smtClean="0"/>
              <a:t>First name, surname, department</a:t>
            </a:r>
            <a:r>
              <a:rPr lang="en-US" noProof="0" smtClean="0"/>
              <a:t>, place, </a:t>
            </a:r>
            <a:r>
              <a:rPr lang="en-US" noProof="0" dirty="0" smtClean="0"/>
              <a:t>dat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342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Add image by clicking symbol</a:t>
            </a:r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56123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headline on two lines als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for content page in CorpoA Regular 30 pt on two line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Text slides are in CorpoS Regular, 20 pt.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F0FC925-DEDF-4CB0-B385-E4FE6B66FD47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273503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de slide headline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for content page in CorpoA Regular 30 pt on two lines</a:t>
            </a:r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392C939-1ED3-44E9-8F6D-BD63CE96F489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9" hasCustomPrompt="1"/>
          </p:nvPr>
        </p:nvSpPr>
        <p:spPr>
          <a:xfrm>
            <a:off x="395288" y="1490400"/>
            <a:ext cx="8352000" cy="4905638"/>
          </a:xfrm>
        </p:spPr>
        <p:txBody>
          <a:bodyPr/>
          <a:lstStyle/>
          <a:p>
            <a:r>
              <a:rPr lang="en-US" noProof="0" smtClean="0"/>
              <a:t>Add image by clicking symbol</a:t>
            </a:r>
            <a:endParaRPr lang="en-US" noProof="0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62679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page and caption beneath th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Headline for content page in CorpoA Regular 30 pt on two lines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 hasCustomPrompt="1"/>
          </p:nvPr>
        </p:nvSpPr>
        <p:spPr>
          <a:xfrm>
            <a:off x="395288" y="1490400"/>
            <a:ext cx="8352000" cy="4458880"/>
          </a:xfrm>
        </p:spPr>
        <p:txBody>
          <a:bodyPr/>
          <a:lstStyle/>
          <a:p>
            <a:r>
              <a:rPr lang="en-US" smtClean="0"/>
              <a:t>Add image by clicking symbol</a:t>
            </a:r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95288" y="6107810"/>
            <a:ext cx="8353425" cy="288032"/>
          </a:xfrm>
        </p:spPr>
        <p:txBody>
          <a:bodyPr tIns="0"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 baseline="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9pPr>
          </a:lstStyle>
          <a:p>
            <a:pPr lvl="0"/>
            <a:r>
              <a:rPr lang="en-US" dirty="0" smtClean="0"/>
              <a:t>Captions are in CorpoS 9 pt and are placed 0.4 cm beneath the image.</a:t>
            </a:r>
            <a:endParaRPr lang="de-DE" dirty="0" smtClean="0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smtClean="0"/>
              <a:t>Optional chapter heading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10979669-62B2-4874-BE74-4CB5E10FF4DA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 dirty="0" smtClean="0">
              <a:solidFill>
                <a:prstClr val="black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9463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624AA3-81AE-4F96-B3E2-D95FB6E1550F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6518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902CF5-0601-470E-BA9F-D4AD0B89D528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69909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page headline &amp;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for content page in CorpoA Regular 30 pt on two line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6000" y="3789040"/>
            <a:ext cx="8352000" cy="2602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Text slides are in CorpoS Regular, 20 pt.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 hasCustomPrompt="1"/>
          </p:nvPr>
        </p:nvSpPr>
        <p:spPr>
          <a:xfrm>
            <a:off x="395288" y="1490400"/>
            <a:ext cx="4140000" cy="216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 smtClean="0"/>
              <a:t>Add image by clicking symbol</a:t>
            </a:r>
            <a:endParaRPr lang="en-US" noProof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6" hasCustomPrompt="1"/>
          </p:nvPr>
        </p:nvSpPr>
        <p:spPr>
          <a:xfrm>
            <a:off x="4608464" y="1490400"/>
            <a:ext cx="4140000" cy="216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 smtClean="0"/>
              <a:t>Add image by clicking symbol</a:t>
            </a:r>
            <a:endParaRPr lang="en-US" noProof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880B2542-BA75-49B8-B1BF-7212B24A1588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4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5746470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page headline &amp;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for content page in CorpoA Regular 30 pt on two line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44000" y="1484784"/>
            <a:ext cx="4104000" cy="4906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Text slides are in CorpoS Regular, 20 pt.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E89871-7EBD-4E6E-A0A7-A37F84616B8E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 hasCustomPrompt="1"/>
          </p:nvPr>
        </p:nvSpPr>
        <p:spPr>
          <a:xfrm>
            <a:off x="395288" y="1490400"/>
            <a:ext cx="4104000" cy="4899600"/>
          </a:xfrm>
        </p:spPr>
        <p:txBody>
          <a:bodyPr/>
          <a:lstStyle/>
          <a:p>
            <a:r>
              <a:rPr lang="en-US" noProof="0" smtClean="0"/>
              <a:t>Add image by clicking symbol</a:t>
            </a:r>
            <a:endParaRPr lang="en-US" noProof="0"/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86779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9246CF-415D-44D2-A41A-24C294A96600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D33D15-089C-4EE8-8743-575B72A1F20A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866259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page image in type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57C36-4802-484F-8BA4-2EB847CF51C0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 hasCustomPrompt="1"/>
          </p:nvPr>
        </p:nvSpPr>
        <p:spPr>
          <a:xfrm>
            <a:off x="396000" y="377999"/>
            <a:ext cx="8352000" cy="6012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 smtClean="0"/>
              <a:t>Add image by clicking symbol</a:t>
            </a:r>
            <a:endParaRPr lang="en-US" noProof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176253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95288" y="370800"/>
            <a:ext cx="8352000" cy="1260000"/>
          </a:xfrm>
        </p:spPr>
        <p:txBody>
          <a:bodyPr/>
          <a:lstStyle>
            <a:lvl1pPr>
              <a:lnSpc>
                <a:spcPts val="5000"/>
              </a:lnSpc>
              <a:defRPr sz="4500"/>
            </a:lvl1pPr>
          </a:lstStyle>
          <a:p>
            <a:r>
              <a:rPr lang="en-US" noProof="0" dirty="0" smtClean="0"/>
              <a:t>Chapter heading 45 pt on two lines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96000" y="1936800"/>
            <a:ext cx="8352000" cy="33768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9pPr>
          </a:lstStyle>
          <a:p>
            <a:pPr lvl="6"/>
            <a:r>
              <a:rPr lang="en-US" noProof="0" dirty="0" smtClean="0"/>
              <a:t>Additional text for chapter heading 15pt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3DBB2-C1FF-4EAA-8D67-940CDE8B19D5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70837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96000" y="3639600"/>
            <a:ext cx="8352000" cy="1260000"/>
          </a:xfrm>
        </p:spPr>
        <p:txBody>
          <a:bodyPr/>
          <a:lstStyle>
            <a:lvl1pPr>
              <a:lnSpc>
                <a:spcPts val="5000"/>
              </a:lnSpc>
              <a:defRPr sz="4500"/>
            </a:lvl1pPr>
          </a:lstStyle>
          <a:p>
            <a:r>
              <a:rPr lang="en-US" noProof="0" dirty="0" smtClean="0"/>
              <a:t>Chapter heading 45 pt on two lines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96000" y="5205600"/>
            <a:ext cx="8352000" cy="11880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Additional text for chapter heading 15pt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4FCA7-9A29-4061-BA8E-B6F6C44991AD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342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Add image by clicking symbol</a:t>
            </a:r>
            <a:endParaRPr lang="de-DE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2868753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for content page in CorpoA Regular 30 pt on two line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6000" y="1490399"/>
            <a:ext cx="8352000" cy="360000"/>
          </a:xfr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1500" b="1"/>
            </a:lvl1pPr>
            <a:lvl2pPr marL="0" indent="0">
              <a:buNone/>
              <a:defRPr sz="1500"/>
            </a:lvl2pPr>
            <a:lvl3pPr marL="0" indent="0">
              <a:buNone/>
              <a:defRPr sz="1500"/>
            </a:lvl3pPr>
            <a:lvl4pPr marL="0" indent="0">
              <a:buNone/>
              <a:defRPr sz="1500"/>
            </a:lvl4pPr>
            <a:lvl5pPr marL="0" indent="0">
              <a:buNone/>
              <a:defRPr sz="1500"/>
            </a:lvl5pPr>
            <a:lvl6pPr marL="0" indent="0">
              <a:buNone/>
              <a:defRPr sz="1500"/>
            </a:lvl6pPr>
            <a:lvl7pPr marL="0" indent="0">
              <a:buNone/>
              <a:defRPr sz="1500"/>
            </a:lvl7pPr>
            <a:lvl8pPr marL="0" indent="0">
              <a:buNone/>
              <a:defRPr sz="1500"/>
            </a:lvl8pPr>
            <a:lvl9pPr marL="0" indent="0">
              <a:buNone/>
              <a:defRPr sz="1500"/>
            </a:lvl9pPr>
          </a:lstStyle>
          <a:p>
            <a:pPr lvl="0"/>
            <a:r>
              <a:rPr lang="en-US" noProof="0" dirty="0" smtClean="0"/>
              <a:t>Edit text master format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BAE5370-4D3E-433C-ACC2-0FB7C6E2F72D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2" name="Inhaltsplatzhalter 2"/>
          <p:cNvSpPr>
            <a:spLocks noGrp="1"/>
          </p:cNvSpPr>
          <p:nvPr>
            <p:ph idx="18" hasCustomPrompt="1"/>
          </p:nvPr>
        </p:nvSpPr>
        <p:spPr>
          <a:xfrm>
            <a:off x="395536" y="2159999"/>
            <a:ext cx="8352000" cy="3805200"/>
          </a:xfr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1500" b="1"/>
            </a:lvl1pPr>
            <a:lvl2pPr marL="0" indent="0">
              <a:buNone/>
              <a:defRPr sz="1500"/>
            </a:lvl2pPr>
            <a:lvl3pPr marL="0" indent="0">
              <a:buNone/>
              <a:defRPr sz="1500"/>
            </a:lvl3pPr>
            <a:lvl4pPr marL="0" indent="0">
              <a:buNone/>
              <a:defRPr sz="1500"/>
            </a:lvl4pPr>
            <a:lvl5pPr marL="0" indent="0">
              <a:buNone/>
              <a:defRPr sz="1500"/>
            </a:lvl5pPr>
            <a:lvl6pPr marL="0" indent="0">
              <a:buNone/>
              <a:defRPr sz="1500"/>
            </a:lvl6pPr>
            <a:lvl7pPr marL="0" indent="0">
              <a:buNone/>
              <a:defRPr sz="1500"/>
            </a:lvl7pPr>
            <a:lvl8pPr marL="0" indent="0">
              <a:buNone/>
              <a:defRPr sz="1500"/>
            </a:lvl8pPr>
            <a:lvl9pPr marL="0" indent="0">
              <a:buNone/>
              <a:defRPr sz="1500"/>
            </a:lvl9pPr>
          </a:lstStyle>
          <a:p>
            <a:pPr lvl="0"/>
            <a:r>
              <a:rPr lang="en-US" noProof="0" dirty="0" smtClean="0"/>
              <a:t>Edit text master format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395288" y="6107810"/>
            <a:ext cx="8353425" cy="288032"/>
          </a:xfrm>
        </p:spPr>
        <p:txBody>
          <a:bodyPr tIns="0"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9pPr>
          </a:lstStyle>
          <a:p>
            <a:pPr lvl="0"/>
            <a:r>
              <a:rPr lang="en-US" noProof="0" dirty="0" smtClean="0"/>
              <a:t>Table captions are in CorpoS 9 pt and are placed 0.4 cm beneath the table.</a:t>
            </a:r>
          </a:p>
        </p:txBody>
      </p:sp>
    </p:spTree>
    <p:extLst>
      <p:ext uri="{BB962C8B-B14F-4D97-AF65-F5344CB8AC3E}">
        <p14:creationId xmlns:p14="http://schemas.microsoft.com/office/powerpoint/2010/main" val="3969104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857ED6-EE47-469F-9B10-9EEB651A6731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1074934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A49D49-5047-4A4D-98D1-C52CB1B7E79B}" type="datetime3">
              <a:rPr lang="de-DE">
                <a:solidFill>
                  <a:prstClr val="black"/>
                </a:solidFill>
              </a:rPr>
              <a:pPr>
                <a:defRPr/>
              </a:pPr>
              <a:t>24/05/13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571231-EA01-486C-A691-1AA6F0E0F837}" type="slidenum">
              <a:rPr lang="de-DE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0929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gray"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morossm\Desktop\Backup\AAP\Marketing\Thailand\Branding\Logo\mb_leasing_l_cmyk_pos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725" y="385763"/>
            <a:ext cx="2308225" cy="414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41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6725" y="895350"/>
            <a:ext cx="8205788" cy="1258888"/>
          </a:xfrm>
        </p:spPr>
        <p:txBody>
          <a:bodyPr/>
          <a:lstStyle>
            <a:lvl1pPr>
              <a:lnSpc>
                <a:spcPts val="5000"/>
              </a:lnSpc>
              <a:defRPr sz="4500" smtClean="0"/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6725" y="2486025"/>
            <a:ext cx="8205788" cy="2825750"/>
          </a:xfrm>
        </p:spPr>
        <p:txBody>
          <a:bodyPr/>
          <a:lstStyle>
            <a:lvl1pPr>
              <a:lnSpc>
                <a:spcPct val="100000"/>
              </a:lnSpc>
              <a:spcAft>
                <a:spcPct val="0"/>
              </a:spcAft>
              <a:defRPr sz="1500" smtClean="0"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35284173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de-D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01A59824-5AB3-4F8B-B773-B5897D8F9F11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r>
              <a:rPr lang="en-US"/>
              <a:t>A-Class Financial Package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F3D697C7-B4D5-4CBA-9EC2-313311B1FE31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969641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E8135FD0-A7AA-4197-AAB0-F05F88714F1E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r>
              <a:rPr lang="en-US"/>
              <a:t>A-Class Financial Package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9100539A-6120-4EDA-8E66-07C89AAD0DD4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630752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9760E074-D92C-4F1A-BB81-7D83A522F267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r>
              <a:rPr lang="en-US"/>
              <a:t>A-Class Financial Package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35FAC293-7552-4AB4-97B3-28A7BBF83871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529345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28244C-7D20-43ED-917F-AA930E67325A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907A8B-93D7-49FC-BDDA-126469B3272E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1774013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420813"/>
            <a:ext cx="4097337" cy="4970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5025" y="1420813"/>
            <a:ext cx="4098925" cy="4970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96A5F220-2B12-4C9C-B177-7F2EBE2BB67E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r>
              <a:rPr lang="en-US"/>
              <a:t>A-Class Financial Package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A14317A0-5CB4-4388-91E5-6EAEDFC56988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1886066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1728C202-BC44-4A00-8213-3676074C3951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r>
              <a:rPr lang="en-US"/>
              <a:t>A-Class Financial Package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C79F61CD-28B2-4857-B7EF-C41B9831C473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7665742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97324F08-8245-49A3-8842-5CA7E00261CD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r>
              <a:rPr lang="en-US"/>
              <a:t>A-Class Financial Packag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3762F91C-7649-4AA8-9F9D-34535E8AD1C1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783908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FC5F2856-C3D3-4C14-A86B-533B2703DAC1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r>
              <a:rPr lang="en-US"/>
              <a:t>A-Class Financial Packag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55C026B6-D785-4C93-A8D5-77B992B0F912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1912740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A43449B2-DE66-40FB-A4B0-65E19E60C3B4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r>
              <a:rPr lang="en-US"/>
              <a:t>A-Class Financial Package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DE6BA65E-0A2D-4131-A383-FAE247ED89A8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724827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de-DE" noProof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09B613E5-5889-4FDF-838D-FE3501345B7C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r>
              <a:rPr lang="en-US"/>
              <a:t>A-Class Financial Package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2265B10B-36AC-4FBB-BF0A-90DD5E5B257A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3376250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3E6A5F71-6ED3-47CA-945D-458BBB7C269A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r>
              <a:rPr lang="en-US"/>
              <a:t>A-Class Financial Package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E2445955-4CAD-40F6-B104-EED2DB061F89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4962918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57975" y="366713"/>
            <a:ext cx="2085975" cy="602456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395288" y="366713"/>
            <a:ext cx="6110287" cy="60245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F7A8C577-F592-4B37-99DC-B0FA053C079A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r>
              <a:rPr lang="en-US"/>
              <a:t>A-Class Financial Package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80227AA6-EF63-4BBE-AD1F-8A61A397E114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4313329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 and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366713"/>
            <a:ext cx="8348662" cy="90011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5288" y="1420813"/>
            <a:ext cx="8348662" cy="24082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95288" y="3981450"/>
            <a:ext cx="8348662" cy="2409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2FE9B2A5-69D8-4890-B6E2-94C8F6BC5E62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r>
              <a:rPr lang="en-US"/>
              <a:t>A-Class Financial Package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BB75AF8E-F4DA-4DDE-B9B2-053CA12E2A08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1791586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 and 2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366713"/>
            <a:ext cx="8348662" cy="90011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95288" y="1420813"/>
            <a:ext cx="4097337" cy="24082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5025" y="1420813"/>
            <a:ext cx="4098925" cy="24082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395288" y="3981450"/>
            <a:ext cx="8348662" cy="2409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9D4E7CAC-D64B-4FF9-9F63-853FDE6A3A33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r>
              <a:rPr lang="en-US"/>
              <a:t>A-Class Financial Package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B3F544F3-0E6F-445E-AA51-D89791B6B463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17553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5288" y="1420813"/>
            <a:ext cx="4097337" cy="4970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420813"/>
            <a:ext cx="4098925" cy="4970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1958D5-F977-4782-84A0-A45EAC18346D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8D65E4-3453-4238-B89B-8110217FE27E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4244054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366713"/>
            <a:ext cx="8348662" cy="90011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5288" y="1420813"/>
            <a:ext cx="4097337" cy="49704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5025" y="1420813"/>
            <a:ext cx="4098925" cy="49704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607CF5DD-D6E7-4252-97EB-076FD34D38D9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r>
              <a:rPr lang="en-US"/>
              <a:t>A-Class Financial Package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114B41B6-45B5-4FC4-90E3-AF70D262065D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7719757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395288" y="366713"/>
            <a:ext cx="8348662" cy="60245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E66E8816-340F-40BA-ACEF-7549A8D2FBB1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r>
              <a:rPr lang="en-US"/>
              <a:t>A-Class Financial Packag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276AD491-AF0A-486D-9F4D-45074FD5A99D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7913813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Title and Tex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366713"/>
            <a:ext cx="8348662" cy="90011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95288" y="1420813"/>
            <a:ext cx="8348662" cy="24082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95288" y="3981450"/>
            <a:ext cx="8348662" cy="2409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68355486-C233-4952-BD13-70D8057833B0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r>
              <a:rPr lang="en-US"/>
              <a:t>A-Class Financial Package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63A89DE3-1515-4A30-AA8F-5348BBFCE918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1754140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366713"/>
            <a:ext cx="8348662" cy="90011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395288" y="1420813"/>
            <a:ext cx="8348662" cy="4970462"/>
          </a:xfrm>
        </p:spPr>
        <p:txBody>
          <a:bodyPr/>
          <a:lstStyle/>
          <a:p>
            <a:pPr lvl="0"/>
            <a:r>
              <a:rPr lang="en-US" noProof="0" smtClean="0"/>
              <a:t>Click icon to add chart</a:t>
            </a:r>
            <a:endParaRPr lang="en-US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4806F273-EED6-48C2-B7FB-F5DC305D0EAA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r>
              <a:rPr lang="en-US"/>
              <a:t>A-Class Financial Package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9C5A2ACB-B8AF-4957-A2E4-5E0C810B769D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5647456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gray"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6725" y="369888"/>
            <a:ext cx="8205788" cy="1258887"/>
          </a:xfrm>
        </p:spPr>
        <p:txBody>
          <a:bodyPr/>
          <a:lstStyle>
            <a:lvl1pPr>
              <a:lnSpc>
                <a:spcPts val="5000"/>
              </a:lnSpc>
              <a:defRPr sz="4500" smtClean="0"/>
            </a:lvl1pPr>
          </a:lstStyle>
          <a:p>
            <a:pPr lvl="0"/>
            <a:r>
              <a:rPr lang="en-US" noProof="0" smtClean="0"/>
              <a:t>Titelmasterformat durch Klicken bearbeiten</a:t>
            </a:r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6725" y="1978025"/>
            <a:ext cx="8205788" cy="3375025"/>
          </a:xfrm>
        </p:spPr>
        <p:txBody>
          <a:bodyPr/>
          <a:lstStyle>
            <a:lvl1pPr>
              <a:lnSpc>
                <a:spcPct val="100000"/>
              </a:lnSpc>
              <a:spcAft>
                <a:spcPct val="0"/>
              </a:spcAft>
              <a:defRPr sz="1500" smtClean="0"/>
            </a:lvl1pPr>
          </a:lstStyle>
          <a:p>
            <a:pPr lvl="0"/>
            <a:r>
              <a:rPr lang="en-US" noProof="0" smtClean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231342388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DBFBE5-231B-4A2E-9063-31694F14766D}" type="datetime1">
              <a:rPr lang="en-US">
                <a:solidFill>
                  <a:srgbClr val="000000"/>
                </a:solidFill>
              </a:rPr>
              <a:pPr>
                <a:defRPr/>
              </a:pPr>
              <a:t>5/24/201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43AAE5-D834-47C9-8E2F-BB193F6607DD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7508599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564734-8382-4008-B7E5-62723F29702E}" type="datetime1">
              <a:rPr lang="en-US">
                <a:solidFill>
                  <a:srgbClr val="000000"/>
                </a:solidFill>
              </a:rPr>
              <a:pPr>
                <a:defRPr/>
              </a:pPr>
              <a:t>5/24/201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EB9871-7530-4FC3-A5FC-D3C9B82ECE44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2995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BC85FD-C473-4765-B8DE-D8F1FDA68FEF}" type="datetime1">
              <a:rPr lang="en-US">
                <a:solidFill>
                  <a:srgbClr val="000000"/>
                </a:solidFill>
              </a:rPr>
              <a:pPr>
                <a:defRPr/>
              </a:pPr>
              <a:t>5/24/201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D858A7-8DD3-42B6-B227-3B7AF7152DEC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624570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420813"/>
            <a:ext cx="4097337" cy="4970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5025" y="1420813"/>
            <a:ext cx="4098925" cy="4970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B7C208-29FD-4DAD-BDAE-6274ECA9199E}" type="datetime1">
              <a:rPr lang="en-US">
                <a:solidFill>
                  <a:srgbClr val="000000"/>
                </a:solidFill>
              </a:rPr>
              <a:pPr>
                <a:defRPr/>
              </a:pPr>
              <a:t>5/24/201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7C18C4-42B8-4278-A411-D492D175A380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3923791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11C771-2AE7-4A99-B438-F54BE23C3292}" type="datetime1">
              <a:rPr lang="en-US">
                <a:solidFill>
                  <a:srgbClr val="000000"/>
                </a:solidFill>
              </a:rPr>
              <a:pPr>
                <a:defRPr/>
              </a:pPr>
              <a:t>5/24/201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FC443F-4E3B-4A4A-A6CF-20CA004746D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90471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A92578-629C-40AD-98AB-9CB2C27F93A0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578333-469A-4A46-9F51-DDEA058E4619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682734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0F9CE1-934C-4965-8821-A8E7E3177526}" type="datetime1">
              <a:rPr lang="en-US">
                <a:solidFill>
                  <a:srgbClr val="000000"/>
                </a:solidFill>
              </a:rPr>
              <a:pPr>
                <a:defRPr/>
              </a:pPr>
              <a:t>5/24/201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656465-6310-47AF-A74C-946CA4F0C40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7103097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779A94-8947-4C1A-BC51-B1E25C85154B}" type="datetime1">
              <a:rPr lang="en-US">
                <a:solidFill>
                  <a:srgbClr val="000000"/>
                </a:solidFill>
              </a:rPr>
              <a:pPr>
                <a:defRPr/>
              </a:pPr>
              <a:t>5/24/201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E3EB087-CA42-4535-91EA-0DE60941925F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3731534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CA2E53-B4FA-417D-92D8-733CBD426D81}" type="datetime1">
              <a:rPr lang="en-US">
                <a:solidFill>
                  <a:srgbClr val="000000"/>
                </a:solidFill>
              </a:rPr>
              <a:pPr>
                <a:defRPr/>
              </a:pPr>
              <a:t>5/24/201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C7A59B-8CE3-4A57-B76A-048F886CC59F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4683218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0A9155-A391-4CAA-A7DC-65504AFE7D32}" type="datetime1">
              <a:rPr lang="en-US">
                <a:solidFill>
                  <a:srgbClr val="000000"/>
                </a:solidFill>
              </a:rPr>
              <a:pPr>
                <a:defRPr/>
              </a:pPr>
              <a:t>5/24/201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55C800-F6C2-41CD-870A-1F9BF7BFC42E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0015702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7448DA-D10E-49F1-8095-7A9F74DD546D}" type="datetime1">
              <a:rPr lang="en-US">
                <a:solidFill>
                  <a:srgbClr val="000000"/>
                </a:solidFill>
              </a:rPr>
              <a:pPr>
                <a:defRPr/>
              </a:pPr>
              <a:t>5/24/201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1D4A9F-5FFA-416A-9C37-B35A11EC95F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2109226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57975" y="366713"/>
            <a:ext cx="2085975" cy="6024562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395288" y="366713"/>
            <a:ext cx="6110287" cy="6024562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E9F2FB-6887-456E-AD95-578CDBF0A58D}" type="datetime1">
              <a:rPr lang="en-US">
                <a:solidFill>
                  <a:srgbClr val="000000"/>
                </a:solidFill>
              </a:rPr>
              <a:pPr>
                <a:defRPr/>
              </a:pPr>
              <a:t>5/24/201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01C149-4B00-42F6-8B53-918A97209E93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9298827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 and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366713"/>
            <a:ext cx="8348662" cy="90011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5288" y="1420813"/>
            <a:ext cx="8348662" cy="24082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95288" y="3981450"/>
            <a:ext cx="8348662" cy="2409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24BF34-0A22-4246-AC34-7CFD27E5A4C4}" type="datetime1">
              <a:rPr lang="en-US">
                <a:solidFill>
                  <a:srgbClr val="000000"/>
                </a:solidFill>
              </a:rPr>
              <a:pPr>
                <a:defRPr/>
              </a:pPr>
              <a:t>5/24/201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CFAB3C-4F5B-493C-B5E2-4260C8E5E5BC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5388129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395288" y="366713"/>
            <a:ext cx="8348662" cy="60245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F579E3-B6C3-4DDD-82BF-F0819D71C222}" type="datetime1">
              <a:rPr lang="en-US">
                <a:solidFill>
                  <a:srgbClr val="000000"/>
                </a:solidFill>
              </a:rPr>
              <a:pPr>
                <a:defRPr/>
              </a:pPr>
              <a:t>5/24/201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B36BDE-AEE6-44E9-96AC-E7FF1855B3DE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752799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366713"/>
            <a:ext cx="8348662" cy="90011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95288" y="1420813"/>
            <a:ext cx="4097337" cy="49704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420813"/>
            <a:ext cx="4098925" cy="49704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262B6B-D5A6-401A-B36C-6886DF2F4F72}" type="datetime1">
              <a:rPr lang="en-US">
                <a:solidFill>
                  <a:srgbClr val="000000"/>
                </a:solidFill>
              </a:rPr>
              <a:pPr>
                <a:defRPr/>
              </a:pPr>
              <a:t>5/24/201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0CFB88-59EF-4F34-902A-621C2F54FEC5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5128340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366713"/>
            <a:ext cx="8348662" cy="90011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95288" y="1420813"/>
            <a:ext cx="8348662" cy="4970462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5C7CE6-5F30-40B0-9E70-B4B7BF0EADA0}" type="datetime1">
              <a:rPr lang="en-US">
                <a:solidFill>
                  <a:srgbClr val="000000"/>
                </a:solidFill>
              </a:rPr>
              <a:pPr>
                <a:defRPr/>
              </a:pPr>
              <a:t>5/24/201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5F69B3-564A-4664-9E79-709F7F83B6FC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169728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9E7217-8F96-4DDA-ADF0-F121524F868D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AB9989-96D9-49EB-AFD2-199CABCC1886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9418405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67998" y="370287"/>
            <a:ext cx="8208000" cy="1260000"/>
          </a:xfrm>
        </p:spPr>
        <p:txBody>
          <a:bodyPr/>
          <a:lstStyle>
            <a:lvl1pPr>
              <a:lnSpc>
                <a:spcPts val="5000"/>
              </a:lnSpc>
              <a:defRPr sz="4500"/>
            </a:lvl1pPr>
          </a:lstStyle>
          <a:p>
            <a:r>
              <a:rPr lang="en-US" noProof="0" dirty="0" smtClean="0"/>
              <a:t>Presentation title 45 pt on two lines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8001" y="1936800"/>
            <a:ext cx="8209018" cy="33768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Additional text for presentation 15 pt</a:t>
            </a:r>
          </a:p>
          <a:p>
            <a:pPr lvl="0"/>
            <a:r>
              <a:rPr lang="en-US" noProof="0" dirty="0" smtClean="0"/>
              <a:t>First name, surname, department, place, date</a:t>
            </a:r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422343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s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67998" y="3638210"/>
            <a:ext cx="8208000" cy="1260000"/>
          </a:xfrm>
        </p:spPr>
        <p:txBody>
          <a:bodyPr/>
          <a:lstStyle>
            <a:lvl1pPr>
              <a:lnSpc>
                <a:spcPts val="5000"/>
              </a:lnSpc>
              <a:defRPr sz="4500"/>
            </a:lvl1pPr>
          </a:lstStyle>
          <a:p>
            <a:r>
              <a:rPr lang="en-US" noProof="0" dirty="0" smtClean="0"/>
              <a:t>Presentation title 45 pt on two lines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7998" y="5204381"/>
            <a:ext cx="5040000" cy="11880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Additional text for presentation 15 pt</a:t>
            </a:r>
          </a:p>
          <a:p>
            <a:pPr lvl="0"/>
            <a:r>
              <a:rPr lang="en-US" noProof="0" dirty="0" smtClean="0"/>
              <a:t>First name, surname, department</a:t>
            </a:r>
            <a:r>
              <a:rPr lang="en-US" noProof="0" smtClean="0"/>
              <a:t>, place, </a:t>
            </a:r>
            <a:r>
              <a:rPr lang="en-US" noProof="0" dirty="0" smtClean="0"/>
              <a:t>dat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342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Add image by clicking symbol</a:t>
            </a:r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594454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headline on two lines als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for content page in CorpoA Regular 30 pt on two line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Text slides are in CorpoS Regular, 20 pt.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F0FC925-DEDF-4CB0-B385-E4FE6B66FD47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914747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de slide headline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for content page in CorpoA Regular 30 pt on two lines</a:t>
            </a:r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392C939-1ED3-44E9-8F6D-BD63CE96F489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9" hasCustomPrompt="1"/>
          </p:nvPr>
        </p:nvSpPr>
        <p:spPr>
          <a:xfrm>
            <a:off x="395288" y="1490400"/>
            <a:ext cx="8352000" cy="4905638"/>
          </a:xfrm>
        </p:spPr>
        <p:txBody>
          <a:bodyPr/>
          <a:lstStyle/>
          <a:p>
            <a:r>
              <a:rPr lang="en-US" noProof="0" smtClean="0"/>
              <a:t>Add image by clicking symbol</a:t>
            </a:r>
            <a:endParaRPr lang="en-US" noProof="0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10394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page and caption beneath th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Headline for content page in CorpoA Regular 30 pt on two lines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 hasCustomPrompt="1"/>
          </p:nvPr>
        </p:nvSpPr>
        <p:spPr>
          <a:xfrm>
            <a:off x="395288" y="1490400"/>
            <a:ext cx="8352000" cy="4458880"/>
          </a:xfrm>
        </p:spPr>
        <p:txBody>
          <a:bodyPr/>
          <a:lstStyle/>
          <a:p>
            <a:r>
              <a:rPr lang="en-US" smtClean="0"/>
              <a:t>Add image by clicking symbol</a:t>
            </a:r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95288" y="6107810"/>
            <a:ext cx="8353425" cy="288032"/>
          </a:xfrm>
        </p:spPr>
        <p:txBody>
          <a:bodyPr tIns="0"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 baseline="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9pPr>
          </a:lstStyle>
          <a:p>
            <a:pPr lvl="0"/>
            <a:r>
              <a:rPr lang="en-US" dirty="0" smtClean="0"/>
              <a:t>Captions are in CorpoS 9 pt and are placed 0.4 cm beneath the image.</a:t>
            </a:r>
            <a:endParaRPr lang="de-DE" dirty="0" smtClean="0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smtClean="0"/>
              <a:t>Optional chapter heading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10979669-62B2-4874-BE74-4CB5E10FF4DA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 dirty="0" smtClean="0">
              <a:solidFill>
                <a:prstClr val="black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70995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624AA3-81AE-4F96-B3E2-D95FB6E1550F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8505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902CF5-0601-470E-BA9F-D4AD0B89D528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54662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page headline &amp;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for content page in CorpoA Regular 30 pt on two line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6000" y="3789040"/>
            <a:ext cx="8352000" cy="2602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Text slides are in CorpoS Regular, 20 pt.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 hasCustomPrompt="1"/>
          </p:nvPr>
        </p:nvSpPr>
        <p:spPr>
          <a:xfrm>
            <a:off x="395288" y="1490400"/>
            <a:ext cx="4140000" cy="216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 smtClean="0"/>
              <a:t>Add image by clicking symbol</a:t>
            </a:r>
            <a:endParaRPr lang="en-US" noProof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6" hasCustomPrompt="1"/>
          </p:nvPr>
        </p:nvSpPr>
        <p:spPr>
          <a:xfrm>
            <a:off x="4608464" y="1490400"/>
            <a:ext cx="4140000" cy="216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 smtClean="0"/>
              <a:t>Add image by clicking symbol</a:t>
            </a:r>
            <a:endParaRPr lang="en-US" noProof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880B2542-BA75-49B8-B1BF-7212B24A1588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4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660159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page headline &amp;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for content page in CorpoA Regular 30 pt on two line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44000" y="1484784"/>
            <a:ext cx="4104000" cy="4906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Text slides are in CorpoS Regular, 20 pt.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E89871-7EBD-4E6E-A0A7-A37F84616B8E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 hasCustomPrompt="1"/>
          </p:nvPr>
        </p:nvSpPr>
        <p:spPr>
          <a:xfrm>
            <a:off x="395288" y="1490400"/>
            <a:ext cx="4104000" cy="4899600"/>
          </a:xfrm>
        </p:spPr>
        <p:txBody>
          <a:bodyPr/>
          <a:lstStyle/>
          <a:p>
            <a:r>
              <a:rPr lang="en-US" noProof="0" smtClean="0"/>
              <a:t>Add image by clicking symbol</a:t>
            </a:r>
            <a:endParaRPr lang="en-US" noProof="0"/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659190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page image in type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57C36-4802-484F-8BA4-2EB847CF51C0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 hasCustomPrompt="1"/>
          </p:nvPr>
        </p:nvSpPr>
        <p:spPr>
          <a:xfrm>
            <a:off x="396000" y="377999"/>
            <a:ext cx="8352000" cy="6012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 smtClean="0"/>
              <a:t>Add image by clicking symbol</a:t>
            </a:r>
            <a:endParaRPr lang="en-US" noProof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4944760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7463F4-4F20-4DFC-AC92-6A31280FCE16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36730B-CC9D-4928-86E6-018B23D329FA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097472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ADA618-7AB5-41C5-9A47-F6156D367E5D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801B64-6DF7-4069-A86B-E83469C5AAB3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0091791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95288" y="370800"/>
            <a:ext cx="8352000" cy="1260000"/>
          </a:xfrm>
        </p:spPr>
        <p:txBody>
          <a:bodyPr/>
          <a:lstStyle>
            <a:lvl1pPr>
              <a:lnSpc>
                <a:spcPts val="5000"/>
              </a:lnSpc>
              <a:defRPr sz="4500"/>
            </a:lvl1pPr>
          </a:lstStyle>
          <a:p>
            <a:r>
              <a:rPr lang="en-US" noProof="0" dirty="0" smtClean="0"/>
              <a:t>Chapter heading 45 pt on two lines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96000" y="1936800"/>
            <a:ext cx="8352000" cy="33768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9pPr>
          </a:lstStyle>
          <a:p>
            <a:pPr lvl="6"/>
            <a:r>
              <a:rPr lang="en-US" noProof="0" dirty="0" smtClean="0"/>
              <a:t>Additional text for chapter heading 15pt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3DBB2-C1FF-4EAA-8D67-940CDE8B19D5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20387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96000" y="3639600"/>
            <a:ext cx="8352000" cy="1260000"/>
          </a:xfrm>
        </p:spPr>
        <p:txBody>
          <a:bodyPr/>
          <a:lstStyle>
            <a:lvl1pPr>
              <a:lnSpc>
                <a:spcPts val="5000"/>
              </a:lnSpc>
              <a:defRPr sz="4500"/>
            </a:lvl1pPr>
          </a:lstStyle>
          <a:p>
            <a:r>
              <a:rPr lang="en-US" noProof="0" dirty="0" smtClean="0"/>
              <a:t>Chapter heading 45 pt on two lines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96000" y="5205600"/>
            <a:ext cx="8352000" cy="11880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Additional text for chapter heading 15pt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4FCA7-9A29-4061-BA8E-B6F6C44991AD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342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Add image by clicking symbol</a:t>
            </a:r>
            <a:endParaRPr lang="de-DE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6642672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for content page in CorpoA Regular 30 pt on two line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6000" y="1490399"/>
            <a:ext cx="8352000" cy="360000"/>
          </a:xfr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1500" b="1"/>
            </a:lvl1pPr>
            <a:lvl2pPr marL="0" indent="0">
              <a:buNone/>
              <a:defRPr sz="1500"/>
            </a:lvl2pPr>
            <a:lvl3pPr marL="0" indent="0">
              <a:buNone/>
              <a:defRPr sz="1500"/>
            </a:lvl3pPr>
            <a:lvl4pPr marL="0" indent="0">
              <a:buNone/>
              <a:defRPr sz="1500"/>
            </a:lvl4pPr>
            <a:lvl5pPr marL="0" indent="0">
              <a:buNone/>
              <a:defRPr sz="1500"/>
            </a:lvl5pPr>
            <a:lvl6pPr marL="0" indent="0">
              <a:buNone/>
              <a:defRPr sz="1500"/>
            </a:lvl6pPr>
            <a:lvl7pPr marL="0" indent="0">
              <a:buNone/>
              <a:defRPr sz="1500"/>
            </a:lvl7pPr>
            <a:lvl8pPr marL="0" indent="0">
              <a:buNone/>
              <a:defRPr sz="1500"/>
            </a:lvl8pPr>
            <a:lvl9pPr marL="0" indent="0">
              <a:buNone/>
              <a:defRPr sz="1500"/>
            </a:lvl9pPr>
          </a:lstStyle>
          <a:p>
            <a:pPr lvl="0"/>
            <a:r>
              <a:rPr lang="en-US" noProof="0" dirty="0" smtClean="0"/>
              <a:t>Edit text master format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BAE5370-4D3E-433C-ACC2-0FB7C6E2F72D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2" name="Inhaltsplatzhalter 2"/>
          <p:cNvSpPr>
            <a:spLocks noGrp="1"/>
          </p:cNvSpPr>
          <p:nvPr>
            <p:ph idx="18" hasCustomPrompt="1"/>
          </p:nvPr>
        </p:nvSpPr>
        <p:spPr>
          <a:xfrm>
            <a:off x="395536" y="2159999"/>
            <a:ext cx="8352000" cy="3805200"/>
          </a:xfr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1500" b="1"/>
            </a:lvl1pPr>
            <a:lvl2pPr marL="0" indent="0">
              <a:buNone/>
              <a:defRPr sz="1500"/>
            </a:lvl2pPr>
            <a:lvl3pPr marL="0" indent="0">
              <a:buNone/>
              <a:defRPr sz="1500"/>
            </a:lvl3pPr>
            <a:lvl4pPr marL="0" indent="0">
              <a:buNone/>
              <a:defRPr sz="1500"/>
            </a:lvl4pPr>
            <a:lvl5pPr marL="0" indent="0">
              <a:buNone/>
              <a:defRPr sz="1500"/>
            </a:lvl5pPr>
            <a:lvl6pPr marL="0" indent="0">
              <a:buNone/>
              <a:defRPr sz="1500"/>
            </a:lvl6pPr>
            <a:lvl7pPr marL="0" indent="0">
              <a:buNone/>
              <a:defRPr sz="1500"/>
            </a:lvl7pPr>
            <a:lvl8pPr marL="0" indent="0">
              <a:buNone/>
              <a:defRPr sz="1500"/>
            </a:lvl8pPr>
            <a:lvl9pPr marL="0" indent="0">
              <a:buNone/>
              <a:defRPr sz="1500"/>
            </a:lvl9pPr>
          </a:lstStyle>
          <a:p>
            <a:pPr lvl="0"/>
            <a:r>
              <a:rPr lang="en-US" noProof="0" dirty="0" smtClean="0"/>
              <a:t>Edit text master format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395288" y="6107810"/>
            <a:ext cx="8353425" cy="288032"/>
          </a:xfrm>
        </p:spPr>
        <p:txBody>
          <a:bodyPr tIns="0"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9pPr>
          </a:lstStyle>
          <a:p>
            <a:pPr lvl="0"/>
            <a:r>
              <a:rPr lang="en-US" noProof="0" dirty="0" smtClean="0"/>
              <a:t>Table captions are in CorpoS 9 pt and are placed 0.4 cm beneath the table.</a:t>
            </a:r>
          </a:p>
        </p:txBody>
      </p:sp>
    </p:spTree>
    <p:extLst>
      <p:ext uri="{BB962C8B-B14F-4D97-AF65-F5344CB8AC3E}">
        <p14:creationId xmlns:p14="http://schemas.microsoft.com/office/powerpoint/2010/main" val="8717574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857ED6-EE47-469F-9B10-9EEB651A6731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991654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0A1889-136A-43AE-B76C-AC3095AE5F7D}" type="datetime1">
              <a:rPr lang="en-US" smtClean="0">
                <a:solidFill>
                  <a:prstClr val="black"/>
                </a:solidFill>
              </a:rPr>
              <a:pPr>
                <a:defRPr/>
              </a:pPr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5F7ACC-5298-487A-8817-507A2A9C447C}" type="slidenum">
              <a:rPr lang="en-US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2985289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A49D49-5047-4A4D-98D1-C52CB1B7E79B}" type="datetime3">
              <a:rPr lang="de-DE">
                <a:solidFill>
                  <a:prstClr val="black"/>
                </a:solidFill>
              </a:rPr>
              <a:pPr>
                <a:defRPr/>
              </a:pPr>
              <a:t>24/05/13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571231-EA01-486C-A691-1AA6F0E0F837}" type="slidenum">
              <a:rPr lang="de-DE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3017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791BF-9285-4C27-96B9-E6756428480A}" type="datetimeFigureOut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6895FD-AD85-4E8D-856C-4BA9EA0E2A86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8538330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gray"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/>
        </p:nvSpPr>
        <p:spPr bwMode="auto">
          <a:xfrm>
            <a:off x="4356104" y="6551617"/>
            <a:ext cx="396875" cy="306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7196" rIns="0" bIns="0" anchor="ctr"/>
          <a:lstStyle/>
          <a:p>
            <a:pPr algn="ctr">
              <a:defRPr/>
            </a:pPr>
            <a:fld id="{3857E7E3-CE6A-4F10-A51B-C56295492158}" type="slidenum">
              <a:rPr lang="de-DE" sz="1200" b="1">
                <a:solidFill>
                  <a:srgbClr val="000000"/>
                </a:solidFill>
                <a:latin typeface="CorpoS" pitchFamily="2" charset="0"/>
              </a:rPr>
              <a:pPr algn="ctr">
                <a:defRPr/>
              </a:pPr>
              <a:t>‹Nr.›</a:t>
            </a:fld>
            <a:endParaRPr lang="de-DE" sz="1200" b="1">
              <a:solidFill>
                <a:srgbClr val="000000"/>
              </a:solidFill>
              <a:latin typeface="CorpoS" pitchFamily="2" charset="0"/>
            </a:endParaRPr>
          </a:p>
        </p:txBody>
      </p:sp>
      <p:sp>
        <p:nvSpPr>
          <p:cNvPr id="1741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6725" y="369892"/>
            <a:ext cx="8205788" cy="1258887"/>
          </a:xfrm>
        </p:spPr>
        <p:txBody>
          <a:bodyPr/>
          <a:lstStyle>
            <a:lvl1pPr>
              <a:lnSpc>
                <a:spcPts val="5000"/>
              </a:lnSpc>
              <a:defRPr sz="4500" smtClean="0"/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6725" y="1978029"/>
            <a:ext cx="8205788" cy="3375025"/>
          </a:xfrm>
        </p:spPr>
        <p:txBody>
          <a:bodyPr/>
          <a:lstStyle>
            <a:lvl1pPr>
              <a:lnSpc>
                <a:spcPct val="100000"/>
              </a:lnSpc>
              <a:spcAft>
                <a:spcPct val="0"/>
              </a:spcAft>
              <a:defRPr sz="1500" smtClean="0"/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900">
                <a:latin typeface="CorpoS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57F3C8A8-6A90-46A0-9E0C-904EF30E151D}" type="datetime3">
              <a:rPr lang="de-DE">
                <a:solidFill>
                  <a:srgbClr val="000000"/>
                </a:solidFill>
              </a:rPr>
              <a:pPr>
                <a:defRPr/>
              </a:pPr>
              <a:t>24/05/13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403225" y="6551617"/>
            <a:ext cx="5030788" cy="306387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7196" rIns="0" bIns="0" anchor="ctr"/>
          <a:lstStyle/>
          <a:p>
            <a:pPr>
              <a:defRPr/>
            </a:pPr>
            <a:r>
              <a:rPr lang="en-US" sz="900" dirty="0">
                <a:solidFill>
                  <a:srgbClr val="000000"/>
                </a:solidFill>
                <a:latin typeface="CorpoS" pitchFamily="2" charset="0"/>
              </a:rPr>
              <a:t>Fit4Growth Strategy SEA</a:t>
            </a:r>
            <a:endParaRPr lang="de-DE" sz="900" dirty="0">
              <a:solidFill>
                <a:srgbClr val="000000"/>
              </a:solidFill>
              <a:latin typeface="Corpo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7898122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_2">
    <p:bg bwMode="gray"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3225" y="3861052"/>
            <a:ext cx="8205788" cy="1258887"/>
          </a:xfrm>
        </p:spPr>
        <p:txBody>
          <a:bodyPr/>
          <a:lstStyle>
            <a:lvl1pPr>
              <a:lnSpc>
                <a:spcPts val="5000"/>
              </a:lnSpc>
              <a:defRPr sz="4500" smtClean="0"/>
            </a:lvl1pPr>
          </a:lstStyle>
          <a:p>
            <a:pPr lvl="0"/>
            <a:r>
              <a:rPr lang="de-DE" noProof="0" dirty="0" smtClean="0"/>
              <a:t>Titelmasterformat durch Klicken bearbeiten</a:t>
            </a:r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95421" y="5237529"/>
            <a:ext cx="8205788" cy="1162935"/>
          </a:xfrm>
        </p:spPr>
        <p:txBody>
          <a:bodyPr/>
          <a:lstStyle>
            <a:lvl1pPr>
              <a:lnSpc>
                <a:spcPct val="100000"/>
              </a:lnSpc>
              <a:spcAft>
                <a:spcPct val="0"/>
              </a:spcAft>
              <a:defRPr sz="1500" smtClean="0"/>
            </a:lvl1pPr>
          </a:lstStyle>
          <a:p>
            <a:pPr lvl="0"/>
            <a:r>
              <a:rPr lang="de-DE" noProof="0" dirty="0" smtClean="0"/>
              <a:t>Formatvorlage des Untertitelmasters durch Klicken bearbeiten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900">
                <a:latin typeface="CorpoS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F2D8FCB1-A403-49F6-B23E-6D74E9C0518E}" type="datetime3">
              <a:rPr lang="de-DE">
                <a:solidFill>
                  <a:srgbClr val="000000"/>
                </a:solidFill>
              </a:rPr>
              <a:pPr>
                <a:defRPr/>
              </a:pPr>
              <a:t>24/05/13</a:t>
            </a:fld>
            <a:endParaRPr lang="de-DE">
              <a:solidFill>
                <a:srgbClr val="000000"/>
              </a:solidFill>
            </a:endParaRPr>
          </a:p>
        </p:txBody>
      </p:sp>
      <p:pic>
        <p:nvPicPr>
          <p:cNvPr id="7" name="Picture 5" descr="pprt_titel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" y="0"/>
            <a:ext cx="9140825" cy="3419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feld 7"/>
          <p:cNvSpPr txBox="1"/>
          <p:nvPr userDrawn="1"/>
        </p:nvSpPr>
        <p:spPr>
          <a:xfrm>
            <a:off x="403225" y="6551617"/>
            <a:ext cx="5030788" cy="306387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7196" rIns="0" bIns="0" anchor="ctr"/>
          <a:lstStyle/>
          <a:p>
            <a:pPr>
              <a:defRPr/>
            </a:pPr>
            <a:r>
              <a:rPr lang="en-US" sz="900" dirty="0">
                <a:solidFill>
                  <a:srgbClr val="000000"/>
                </a:solidFill>
                <a:latin typeface="CorpoS" pitchFamily="2" charset="0"/>
              </a:rPr>
              <a:t>Fit4Growth Strategy SEA</a:t>
            </a:r>
            <a:endParaRPr lang="de-DE" sz="900" dirty="0">
              <a:solidFill>
                <a:srgbClr val="000000"/>
              </a:solidFill>
              <a:latin typeface="Corpo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9950844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A49D49-5047-4A4D-98D1-C52CB1B7E79B}" type="datetime3">
              <a:rPr lang="de-DE">
                <a:solidFill>
                  <a:srgbClr val="000000"/>
                </a:solidFill>
              </a:rPr>
              <a:pPr>
                <a:defRPr/>
              </a:pPr>
              <a:t>24/05/13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571231-EA01-486C-A691-1AA6F0E0F837}" type="slidenum">
              <a:rPr lang="de-DE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383363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7CEC36-062E-43FB-9A43-19D25A8855E4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E759D5-3E2D-434C-A808-EF319C9DD66F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51294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erade Verbindung 7"/>
          <p:cNvCxnSpPr/>
          <p:nvPr/>
        </p:nvCxnSpPr>
        <p:spPr>
          <a:xfrm>
            <a:off x="395288" y="6551613"/>
            <a:ext cx="834866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14" descr="WortMArke_1200dpi_0,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808914" y="6650038"/>
            <a:ext cx="938212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6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900">
                <a:latin typeface="CorpoS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AC710038-22F3-4E5F-918F-E137934E4920}" type="datetime3">
              <a:rPr lang="de-DE">
                <a:solidFill>
                  <a:srgbClr val="000000"/>
                </a:solidFill>
              </a:rPr>
              <a:pPr>
                <a:defRPr/>
              </a:pPr>
              <a:t>24/05/13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15C799-3F39-4EE0-8B90-7F9FE37D2992}" type="slidenum">
              <a:rPr lang="de-DE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9" name="Textfeld 8"/>
          <p:cNvSpPr txBox="1"/>
          <p:nvPr userDrawn="1"/>
        </p:nvSpPr>
        <p:spPr>
          <a:xfrm>
            <a:off x="403225" y="6551617"/>
            <a:ext cx="5030788" cy="306387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7196" rIns="0" bIns="0" anchor="ctr"/>
          <a:lstStyle/>
          <a:p>
            <a:pPr>
              <a:defRPr/>
            </a:pPr>
            <a:r>
              <a:rPr lang="en-US" sz="900" dirty="0">
                <a:solidFill>
                  <a:srgbClr val="000000"/>
                </a:solidFill>
                <a:latin typeface="CorpoS" pitchFamily="2" charset="0"/>
              </a:rPr>
              <a:t>Fit4Growth Strategy SEA</a:t>
            </a:r>
            <a:endParaRPr lang="de-DE" sz="900" dirty="0">
              <a:solidFill>
                <a:srgbClr val="000000"/>
              </a:solidFill>
              <a:latin typeface="Corpo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5832548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589179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OverTx">
  <p:cSld name="Title and 2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Gerade Verbindung 7"/>
          <p:cNvCxnSpPr/>
          <p:nvPr/>
        </p:nvCxnSpPr>
        <p:spPr>
          <a:xfrm>
            <a:off x="395288" y="6551613"/>
            <a:ext cx="834866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14" descr="WortMArke_1200dpi_0,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08914" y="6650038"/>
            <a:ext cx="938212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6"/>
          <p:cNvSpPr>
            <a:spLocks noChangeArrowheads="1"/>
          </p:cNvSpPr>
          <p:nvPr/>
        </p:nvSpPr>
        <p:spPr bwMode="auto">
          <a:xfrm>
            <a:off x="4356104" y="6551617"/>
            <a:ext cx="396875" cy="306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7196" rIns="0" bIns="0" anchor="ctr"/>
          <a:lstStyle/>
          <a:p>
            <a:pPr algn="ctr">
              <a:defRPr/>
            </a:pPr>
            <a:fld id="{57A3A701-40D0-499E-A5D9-588ADC9B05BF}" type="slidenum">
              <a:rPr lang="de-DE" sz="1200" b="1">
                <a:solidFill>
                  <a:srgbClr val="000000"/>
                </a:solidFill>
                <a:latin typeface="CorpoS" pitchFamily="2" charset="0"/>
              </a:rPr>
              <a:pPr algn="ctr">
                <a:defRPr/>
              </a:pPr>
              <a:t>‹Nr.›</a:t>
            </a:fld>
            <a:endParaRPr lang="de-DE" sz="1200" b="1">
              <a:solidFill>
                <a:srgbClr val="000000"/>
              </a:solidFill>
              <a:latin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366713"/>
            <a:ext cx="8348662" cy="90011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95289" y="1420817"/>
            <a:ext cx="4097337" cy="24082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5029" y="1420817"/>
            <a:ext cx="4098925" cy="24082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395288" y="3981453"/>
            <a:ext cx="8348662" cy="2409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900">
                <a:latin typeface="CorpoS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09AB006F-4796-4B85-A031-8BCFAEB77609}" type="datetime3">
              <a:rPr lang="de-DE">
                <a:solidFill>
                  <a:srgbClr val="000000"/>
                </a:solidFill>
              </a:rPr>
              <a:pPr>
                <a:defRPr/>
              </a:pPr>
              <a:t>24/05/13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1" name="Textfeld 10"/>
          <p:cNvSpPr txBox="1"/>
          <p:nvPr userDrawn="1"/>
        </p:nvSpPr>
        <p:spPr>
          <a:xfrm>
            <a:off x="403225" y="6551617"/>
            <a:ext cx="5030788" cy="306387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7196" rIns="0" bIns="0" anchor="ctr"/>
          <a:lstStyle/>
          <a:p>
            <a:pPr>
              <a:defRPr/>
            </a:pPr>
            <a:r>
              <a:rPr lang="en-US" sz="900" dirty="0">
                <a:solidFill>
                  <a:srgbClr val="000000"/>
                </a:solidFill>
                <a:latin typeface="CorpoS" pitchFamily="2" charset="0"/>
              </a:rPr>
              <a:t>Fit4Growth Strategy SEA</a:t>
            </a:r>
            <a:endParaRPr lang="de-DE" sz="900" dirty="0">
              <a:solidFill>
                <a:srgbClr val="000000"/>
              </a:solidFill>
              <a:latin typeface="Corpo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8472318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erade Verbindung 7"/>
          <p:cNvCxnSpPr/>
          <p:nvPr/>
        </p:nvCxnSpPr>
        <p:spPr>
          <a:xfrm>
            <a:off x="395288" y="6551613"/>
            <a:ext cx="834866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14" descr="WortMArke_1200dpi_0,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08914" y="6650038"/>
            <a:ext cx="938212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4356104" y="6551617"/>
            <a:ext cx="396875" cy="306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7196" rIns="0" bIns="0" anchor="ctr"/>
          <a:lstStyle/>
          <a:p>
            <a:pPr algn="ctr">
              <a:defRPr/>
            </a:pPr>
            <a:fld id="{E24B506B-3093-4D5B-A004-E70540AA8C87}" type="slidenum">
              <a:rPr lang="de-DE" sz="1200" b="1">
                <a:solidFill>
                  <a:srgbClr val="000000"/>
                </a:solidFill>
                <a:latin typeface="CorpoS" pitchFamily="2" charset="0"/>
              </a:rPr>
              <a:pPr algn="ctr">
                <a:defRPr/>
              </a:pPr>
              <a:t>‹Nr.›</a:t>
            </a:fld>
            <a:endParaRPr lang="de-DE" sz="1200" b="1">
              <a:solidFill>
                <a:srgbClr val="000000"/>
              </a:solidFill>
              <a:latin typeface="CorpoS" pitchFamily="2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395288" y="366713"/>
            <a:ext cx="8348662" cy="60245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900">
                <a:latin typeface="CorpoS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184EB156-D20B-4D24-9645-C4D9C18A00C3}" type="datetime3">
              <a:rPr lang="de-DE">
                <a:solidFill>
                  <a:srgbClr val="000000"/>
                </a:solidFill>
              </a:rPr>
              <a:pPr>
                <a:defRPr/>
              </a:pPr>
              <a:t>24/05/13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403225" y="6551617"/>
            <a:ext cx="5030788" cy="306387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7196" rIns="0" bIns="0" anchor="ctr"/>
          <a:lstStyle/>
          <a:p>
            <a:pPr>
              <a:defRPr/>
            </a:pPr>
            <a:r>
              <a:rPr lang="en-US" sz="900" dirty="0">
                <a:solidFill>
                  <a:srgbClr val="000000"/>
                </a:solidFill>
                <a:latin typeface="CorpoS" pitchFamily="2" charset="0"/>
              </a:rPr>
              <a:t>Fit4Growth Strategy SEA</a:t>
            </a:r>
            <a:endParaRPr lang="de-DE" sz="900" dirty="0">
              <a:solidFill>
                <a:srgbClr val="000000"/>
              </a:solidFill>
              <a:latin typeface="Corpo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7900706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395288" y="366713"/>
            <a:ext cx="8348662" cy="90011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95289" y="1420813"/>
            <a:ext cx="4097337" cy="23304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5029" y="1420813"/>
            <a:ext cx="4098925" cy="23304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395289" y="3903667"/>
            <a:ext cx="4097337" cy="23320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3903667"/>
            <a:ext cx="4098925" cy="23320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13CC6A-6D8F-4D70-98E0-D9258F89FE54}" type="datetime3">
              <a:rPr lang="de-DE">
                <a:solidFill>
                  <a:srgbClr val="000000"/>
                </a:solidFill>
              </a:rPr>
              <a:pPr>
                <a:defRPr/>
              </a:pPr>
              <a:t>24/05/13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B5D438-E0B0-4954-8455-A3EFC3F38C8C}" type="slidenum">
              <a:rPr lang="de-DE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6889305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366713"/>
            <a:ext cx="8348662" cy="90011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395288" y="1420815"/>
            <a:ext cx="8348662" cy="4814887"/>
          </a:xfr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69E94E-BAB2-44B8-85DD-66C187A3C68F}" type="datetime3">
              <a:rPr lang="de-DE">
                <a:solidFill>
                  <a:srgbClr val="000000"/>
                </a:solidFill>
              </a:rPr>
              <a:pPr>
                <a:defRPr/>
              </a:pPr>
              <a:t>24/05/13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204CBD-D223-437B-A4DC-119EE940DE82}" type="slidenum">
              <a:rPr lang="de-DE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8154207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925719-16AE-41A0-BA1C-9FDB8F22E766}" type="datetime1">
              <a:rPr lang="en-US">
                <a:solidFill>
                  <a:srgbClr val="000000"/>
                </a:solidFill>
              </a:rPr>
              <a:pPr>
                <a:defRPr/>
              </a:pPr>
              <a:t>5/24/201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D483271-1120-49AA-894A-90B914914FE4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1848844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>
  <p:cSld name="Title and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366713"/>
            <a:ext cx="8348662" cy="90011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5288" y="1420813"/>
            <a:ext cx="8348662" cy="24082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95288" y="3981450"/>
            <a:ext cx="8348662" cy="2409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4822B8-BD61-4EC4-9DD1-A851FF7ED8BB}" type="datetime1">
              <a:rPr lang="en-US">
                <a:solidFill>
                  <a:srgbClr val="000000"/>
                </a:solidFill>
              </a:rPr>
              <a:pPr>
                <a:defRPr/>
              </a:pPr>
              <a:t>5/24/201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9C532D-235A-4E0D-964B-7897C9B06B10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5426723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 bwMode="gray"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6725" y="369888"/>
            <a:ext cx="8205788" cy="1258887"/>
          </a:xfrm>
        </p:spPr>
        <p:txBody>
          <a:bodyPr/>
          <a:lstStyle>
            <a:lvl1pPr>
              <a:lnSpc>
                <a:spcPts val="5000"/>
              </a:lnSpc>
              <a:defRPr sz="4500"/>
            </a:lvl1pPr>
          </a:lstStyle>
          <a:p>
            <a:pPr lvl="0"/>
            <a:r>
              <a:rPr lang="en-US" altLang="en-US" noProof="0" smtClean="0"/>
              <a:t>Titelmasterformat durch Klicken bearbeiten</a:t>
            </a: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6725" y="1978025"/>
            <a:ext cx="8205788" cy="3375025"/>
          </a:xfrm>
        </p:spPr>
        <p:txBody>
          <a:bodyPr/>
          <a:lstStyle>
            <a:lvl1pPr>
              <a:lnSpc>
                <a:spcPct val="100000"/>
              </a:lnSpc>
              <a:spcAft>
                <a:spcPct val="0"/>
              </a:spcAft>
              <a:defRPr sz="1500"/>
            </a:lvl1pPr>
          </a:lstStyle>
          <a:p>
            <a:pPr lvl="0"/>
            <a:r>
              <a:rPr lang="en-US" altLang="en-US" noProof="0" smtClean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738470449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3DB0E3F-E210-40FF-9EB2-09D16E80264F}" type="slidenum">
              <a:rPr lang="en-US" altLang="en-US">
                <a:solidFill>
                  <a:srgbClr val="000000"/>
                </a:solidFill>
              </a:rPr>
              <a:pPr/>
              <a:t>‹Nr.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120096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3BDC21-530E-4CA8-89D4-52E563D01C4F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A2F44B-0DFE-4C66-85D1-31A022432E8B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0689820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6C19D27-B8EC-491D-9B2D-BC5F89274F24}" type="slidenum">
              <a:rPr lang="en-US" altLang="en-US">
                <a:solidFill>
                  <a:srgbClr val="000000"/>
                </a:solidFill>
              </a:rPr>
              <a:pPr/>
              <a:t>‹Nr.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9541299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420813"/>
            <a:ext cx="4097337" cy="4970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5025" y="1420813"/>
            <a:ext cx="4098925" cy="4970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8BFA67F-30D8-4312-A560-20520033684F}" type="slidenum">
              <a:rPr lang="en-US" altLang="en-US">
                <a:solidFill>
                  <a:srgbClr val="000000"/>
                </a:solidFill>
              </a:rPr>
              <a:pPr/>
              <a:t>‹Nr.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2924262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B36ED55-679D-4475-A5B4-4EB87F38F2DF}" type="slidenum">
              <a:rPr lang="en-US" altLang="en-US">
                <a:solidFill>
                  <a:srgbClr val="000000"/>
                </a:solidFill>
              </a:rPr>
              <a:pPr/>
              <a:t>‹Nr.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645672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96DC66-63D4-4A72-B156-5EBE0156B7A1}" type="slidenum">
              <a:rPr lang="en-US" altLang="en-US">
                <a:solidFill>
                  <a:srgbClr val="000000"/>
                </a:solidFill>
              </a:rPr>
              <a:pPr/>
              <a:t>‹Nr.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321613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BA46B1B-7D81-4CE1-8F83-E53AD2ECB611}" type="slidenum">
              <a:rPr lang="en-US" altLang="en-US">
                <a:solidFill>
                  <a:srgbClr val="000000"/>
                </a:solidFill>
              </a:rPr>
              <a:pPr/>
              <a:t>‹Nr.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1344397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9542D2E-5959-4DA9-9521-4174EB2591AB}" type="slidenum">
              <a:rPr lang="en-US" altLang="en-US">
                <a:solidFill>
                  <a:srgbClr val="000000"/>
                </a:solidFill>
              </a:rPr>
              <a:pPr/>
              <a:t>‹Nr.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1651824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68986DD-01BB-4B1E-B2BF-929819AA8B73}" type="slidenum">
              <a:rPr lang="en-US" altLang="en-US">
                <a:solidFill>
                  <a:srgbClr val="000000"/>
                </a:solidFill>
              </a:rPr>
              <a:pPr/>
              <a:t>‹Nr.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6652792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BB1C53D-4D51-4E0A-85D0-DDDFE103C030}" type="slidenum">
              <a:rPr lang="en-US" altLang="en-US">
                <a:solidFill>
                  <a:srgbClr val="000000"/>
                </a:solidFill>
              </a:rPr>
              <a:pPr/>
              <a:t>‹Nr.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6480882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57975" y="366713"/>
            <a:ext cx="2085975" cy="6024562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395288" y="366713"/>
            <a:ext cx="6110287" cy="6024562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E9A1B19-EA61-45BF-85ED-B508CD327830}" type="slidenum">
              <a:rPr lang="en-US" altLang="en-US">
                <a:solidFill>
                  <a:srgbClr val="000000"/>
                </a:solidFill>
              </a:rPr>
              <a:pPr/>
              <a:t>‹Nr.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8478134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el und Inhalt üb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288" y="366713"/>
            <a:ext cx="8348662" cy="900112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420813"/>
            <a:ext cx="8348662" cy="2408237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395288" y="3981450"/>
            <a:ext cx="8348662" cy="240982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>
          <a:xfrm>
            <a:off x="85725" y="6548438"/>
            <a:ext cx="252413" cy="306387"/>
          </a:xfrm>
        </p:spPr>
        <p:txBody>
          <a:bodyPr/>
          <a:lstStyle>
            <a:lvl1pPr>
              <a:defRPr/>
            </a:lvl1pPr>
          </a:lstStyle>
          <a:p>
            <a:fld id="{809054A9-CD8E-4F97-BD47-16A737D01CB7}" type="slidenum">
              <a:rPr lang="en-US" altLang="en-US">
                <a:solidFill>
                  <a:srgbClr val="000000"/>
                </a:solidFill>
              </a:rPr>
              <a:pPr/>
              <a:t>‹Nr.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136102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9AAEB5-E1FC-47FE-B20F-0CFB679DF998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8C6D3A-8A4D-4B59-836B-B2C58EA49D44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4189847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288" y="366713"/>
            <a:ext cx="8348662" cy="900112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395288" y="1420813"/>
            <a:ext cx="8348662" cy="4970462"/>
          </a:xfrm>
        </p:spPr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85725" y="6548438"/>
            <a:ext cx="252413" cy="306387"/>
          </a:xfrm>
        </p:spPr>
        <p:txBody>
          <a:bodyPr/>
          <a:lstStyle>
            <a:lvl1pPr>
              <a:defRPr/>
            </a:lvl1pPr>
          </a:lstStyle>
          <a:p>
            <a:fld id="{3B3F69A6-5F62-4930-9AC2-EA081D0CC774}" type="slidenum">
              <a:rPr lang="en-US" altLang="en-US">
                <a:solidFill>
                  <a:srgbClr val="000000"/>
                </a:solidFill>
              </a:rPr>
              <a:pPr/>
              <a:t>‹Nr.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14166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57975" y="366713"/>
            <a:ext cx="2085975" cy="602456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95288" y="366713"/>
            <a:ext cx="6110287" cy="60245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D71CE7-749B-4F4B-904D-D21D0912500C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5DA98F-A1A4-4F97-A2FD-DCC241A2E3BB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646742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gray"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6725" y="369888"/>
            <a:ext cx="8205788" cy="1258887"/>
          </a:xfrm>
        </p:spPr>
        <p:txBody>
          <a:bodyPr/>
          <a:lstStyle>
            <a:lvl1pPr>
              <a:lnSpc>
                <a:spcPts val="5000"/>
              </a:lnSpc>
              <a:defRPr sz="4500"/>
            </a:lvl1pPr>
          </a:lstStyle>
          <a:p>
            <a:pPr lvl="0"/>
            <a:r>
              <a:rPr lang="en-US" noProof="0" smtClean="0"/>
              <a:t>Titelmasterformat durch Klicken bearbeiten</a:t>
            </a:r>
          </a:p>
        </p:txBody>
      </p:sp>
      <p:sp>
        <p:nvSpPr>
          <p:cNvPr id="11469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6725" y="1935163"/>
            <a:ext cx="8205788" cy="3375025"/>
          </a:xfrm>
        </p:spPr>
        <p:txBody>
          <a:bodyPr/>
          <a:lstStyle>
            <a:lvl1pPr>
              <a:lnSpc>
                <a:spcPct val="100000"/>
              </a:lnSpc>
              <a:spcAft>
                <a:spcPct val="0"/>
              </a:spcAft>
              <a:defRPr sz="1500"/>
            </a:lvl1pPr>
          </a:lstStyle>
          <a:p>
            <a:pPr lvl="0"/>
            <a:r>
              <a:rPr lang="en-US" noProof="0" smtClean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2870775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4B074A-5FD1-46DE-B694-2C2EF0A6D0EB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F063FC-4AF9-49CD-828D-D03222127B05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45063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04B2B2-892A-4357-BD5F-1F60210A4A16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3B11E5-C942-49C4-9F35-D25DE7A5149B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431275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5288" y="1420813"/>
            <a:ext cx="4097337" cy="4970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420813"/>
            <a:ext cx="4098925" cy="4970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DC1411-A38D-4FB4-82F3-1860EBE31CDB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D7E847-FFD5-47C2-B1F8-7967AF5B0A4A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602628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D6937D-6A21-40E4-9D39-4495C5B648E1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EFD359-76B4-41FB-956E-5E9F3FE11F3D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23694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82AC2E-DBDC-43A9-9CDA-5548076AD523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41BE8A-4BD0-482D-9C27-780997C3E011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71390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8F5B30-3F3A-43F6-8D76-ED1FA592C57E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885FBC-87E0-4937-8D82-4555BAE9AB52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33718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03FADFC-F820-487A-887D-72A061EA2B81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A4909C-10B6-41D6-93F0-1A71AE486BD0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568591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929F37-9133-4161-B5C6-0272E60AB906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127C30-BFBB-4C93-8F59-1DA889AFCD12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991374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04C1F1-BAF1-4C56-9AAE-92C042C1BD06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B4F23C-25B6-499B-833A-F67CF9D8D460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591497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347BBC-B614-4622-9D00-9590F3390EE7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FDECDC-9651-409F-931D-0EB88FE38CA6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60884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57975" y="366713"/>
            <a:ext cx="2085975" cy="602456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95288" y="366713"/>
            <a:ext cx="6110287" cy="60245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448EDC-E808-4286-83B5-635AD0FAA63D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7FE173-399E-4653-8A03-F49323C898B5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535486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gray"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6725" y="369888"/>
            <a:ext cx="8205788" cy="1258887"/>
          </a:xfrm>
        </p:spPr>
        <p:txBody>
          <a:bodyPr/>
          <a:lstStyle>
            <a:lvl1pPr>
              <a:lnSpc>
                <a:spcPts val="5000"/>
              </a:lnSpc>
              <a:defRPr sz="4500"/>
            </a:lvl1pPr>
          </a:lstStyle>
          <a:p>
            <a:pPr lvl="0"/>
            <a:r>
              <a:rPr lang="en-US" noProof="0" smtClean="0"/>
              <a:t>Titelmasterformat durch Klicken bearbeiten</a:t>
            </a:r>
          </a:p>
        </p:txBody>
      </p:sp>
      <p:sp>
        <p:nvSpPr>
          <p:cNvPr id="11673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6725" y="1935163"/>
            <a:ext cx="8205788" cy="3375025"/>
          </a:xfrm>
        </p:spPr>
        <p:txBody>
          <a:bodyPr/>
          <a:lstStyle>
            <a:lvl1pPr>
              <a:lnSpc>
                <a:spcPct val="100000"/>
              </a:lnSpc>
              <a:spcAft>
                <a:spcPct val="0"/>
              </a:spcAft>
              <a:defRPr sz="1500"/>
            </a:lvl1pPr>
          </a:lstStyle>
          <a:p>
            <a:pPr lvl="0"/>
            <a:r>
              <a:rPr lang="en-US" noProof="0" smtClean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54034514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C10CEF-766F-4E02-B6D4-0D6E9667E185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82ABC7-13B6-471D-9BC0-9A816B30A869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132447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DAC689-B1E9-498F-A010-A20F1582FA55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A52C7D-AA9A-467A-84DA-BD20FF9A3871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539878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5288" y="1420813"/>
            <a:ext cx="4097337" cy="4970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420813"/>
            <a:ext cx="4098925" cy="4970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A0C314-63F8-4B6A-BFEF-D01761B5F8B0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6ABA4C-1F34-468D-B634-041B2F47E55C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30716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BB708E-9898-439C-B157-1343DD22C765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4462B93-AE30-493F-AAB3-1C01BEE81369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103902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EBE983-EEE2-466D-990A-D08DB53D4464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33519D-00E4-40DA-B0BA-2206653B9296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402673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7C30F1-F046-4556-88E9-29FBC3610DD1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3C317F-B926-451C-8689-B834D3C62A93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754330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76D3C9-72EE-4BE5-838D-31404DB415A6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215776-048A-44D2-8D9D-BBFE1953D5E8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380367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482FCC-5E53-46D0-A579-2A7434D4D20D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3610BFB-ABF2-42AA-A48A-320E02C6022E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7295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30F927-32DA-43B5-9EFA-BBA98764977E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FC2B47-6D94-4EF0-A141-DCCC0D30067B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838725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91C29C-194D-46AD-BF1A-79183B091330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39578C-7235-4C83-9CD4-62DE80C7FEDC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733264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57975" y="366713"/>
            <a:ext cx="2085975" cy="602456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95288" y="366713"/>
            <a:ext cx="6110287" cy="60245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AB8F62-3A00-4A70-8FE5-E2AA9CD297E0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71C281-1540-4D90-B1FF-86CEEEF59D82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306126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gray"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78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6725" y="369888"/>
            <a:ext cx="8205788" cy="1258887"/>
          </a:xfrm>
        </p:spPr>
        <p:txBody>
          <a:bodyPr/>
          <a:lstStyle>
            <a:lvl1pPr>
              <a:lnSpc>
                <a:spcPts val="5000"/>
              </a:lnSpc>
              <a:defRPr sz="4500"/>
            </a:lvl1pPr>
          </a:lstStyle>
          <a:p>
            <a:pPr lvl="0"/>
            <a:r>
              <a:rPr lang="en-US" noProof="0" smtClean="0"/>
              <a:t>Titelmasterformat durch Klicken bearbeiten</a:t>
            </a:r>
          </a:p>
        </p:txBody>
      </p:sp>
      <p:sp>
        <p:nvSpPr>
          <p:cNvPr id="11878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6725" y="1935163"/>
            <a:ext cx="8205788" cy="3375025"/>
          </a:xfrm>
        </p:spPr>
        <p:txBody>
          <a:bodyPr/>
          <a:lstStyle>
            <a:lvl1pPr>
              <a:lnSpc>
                <a:spcPct val="100000"/>
              </a:lnSpc>
              <a:spcAft>
                <a:spcPct val="0"/>
              </a:spcAft>
              <a:defRPr sz="1500"/>
            </a:lvl1pPr>
          </a:lstStyle>
          <a:p>
            <a:pPr lvl="0"/>
            <a:r>
              <a:rPr lang="en-US" noProof="0" smtClean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73576708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2ACFCA-5DE2-4DB2-9A67-8E7CD0EDA626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D2F2E7-7305-4AB6-B5E2-A4A2CEF21245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220009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95EDDC-0CDD-4444-97FB-B1E6828950B7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A0D660-5821-4825-A571-FCDA8F8BC7AB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47360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420813"/>
            <a:ext cx="4097337" cy="4970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5025" y="1420813"/>
            <a:ext cx="4098925" cy="4970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D73F5C-9BA0-4E37-BDC3-BB45D756D3C2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90DE84-55B5-4325-A4F7-E62724C6BC04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625507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5288" y="1420813"/>
            <a:ext cx="4097337" cy="4970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420813"/>
            <a:ext cx="4098925" cy="4970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0020D7-DE15-4129-88BF-AAE3F8B76AF6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3BB684-E8CC-49C8-B470-AC77368860A2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830854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8D5504-7DA9-4895-9F6A-70A16139E324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49D5FA-CD0E-4248-8A23-E8C1920C31C4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124347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B93DCC-F289-4870-8571-23288663FBE7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A45BF4-0521-457F-852B-E2F34B2903DC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372351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6CF65C-3FEC-4BA9-B2AE-895FBC0D5EDE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E2EE56-F096-4529-B52F-667B91DE6B8E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67902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CEA412-5911-41C0-9861-1F61FF4D7E57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BB5800-96DB-454B-B730-BD8976C53094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375411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677A27-2525-4A15-87E0-C0BFD13560E3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69EE55-2327-40CE-AB43-F35EFBDDEBAC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32468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5445A1-5789-4220-B44D-C67C01EC3718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AC232D-B59F-471E-9AEB-56C279BD7078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600514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57975" y="366713"/>
            <a:ext cx="2085975" cy="602456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95288" y="366713"/>
            <a:ext cx="6110287" cy="60245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09085D-48BC-4C24-A643-F7C21D50D58F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E5BFCE-287D-4AD8-BF79-D4E7EF5283EA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739651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gray"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6725" y="369888"/>
            <a:ext cx="8205788" cy="1258887"/>
          </a:xfrm>
        </p:spPr>
        <p:txBody>
          <a:bodyPr/>
          <a:lstStyle>
            <a:lvl1pPr>
              <a:lnSpc>
                <a:spcPts val="5000"/>
              </a:lnSpc>
              <a:defRPr sz="4500"/>
            </a:lvl1pPr>
          </a:lstStyle>
          <a:p>
            <a:pPr lvl="0"/>
            <a:r>
              <a:rPr lang="en-US" noProof="0" smtClean="0"/>
              <a:t>Titelmasterformat durch Klicken bearbeiten</a:t>
            </a:r>
          </a:p>
        </p:txBody>
      </p:sp>
      <p:sp>
        <p:nvSpPr>
          <p:cNvPr id="12083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6725" y="1935163"/>
            <a:ext cx="8205788" cy="3375025"/>
          </a:xfrm>
        </p:spPr>
        <p:txBody>
          <a:bodyPr/>
          <a:lstStyle>
            <a:lvl1pPr>
              <a:lnSpc>
                <a:spcPct val="100000"/>
              </a:lnSpc>
              <a:spcAft>
                <a:spcPct val="0"/>
              </a:spcAft>
              <a:defRPr sz="1500"/>
            </a:lvl1pPr>
          </a:lstStyle>
          <a:p>
            <a:pPr lvl="0"/>
            <a:r>
              <a:rPr lang="en-US" noProof="0" smtClean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12282638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DF2D0D-034B-4559-BF07-B4DA64137A53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032BE0-2135-4498-9749-0448219063A9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70055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C8F17E-6D1B-4CD3-9039-A1683A211BAE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535353-C448-47C9-B0BC-682B5D80DE7B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731553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F39D1D-A97E-4C0E-8292-D18DC0C2D24C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118A96-FF09-4563-97AA-C679618B1EB7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826705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5288" y="1420813"/>
            <a:ext cx="4097337" cy="4970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420813"/>
            <a:ext cx="4098925" cy="4970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D058A0-A206-408C-AA32-282A9461C007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3B0A69-7450-4FAE-ACCC-26379940B24A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889280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71F0AE-5500-4E12-BF5D-66C1D45DF782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2306E4-3DFC-4683-A2B6-41983BD436BD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458776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C1BAE2D-A43A-4BB7-BF5C-E9589EBD7FFB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A12FB2-6127-44CD-AC20-5E8F3F89C256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228885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70809B-49F7-42A1-91CD-F7D770ED9898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D03D95-95CA-4F8B-9B24-5BF02B3A636D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903578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47A5D7-71F4-4A51-9AF2-240F7DBAC905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F4E6CA-AB40-40E1-96E9-6EB69664F4BE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280703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D11CF4-27B0-4A57-89A0-18889F08E6EA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1394ED-BE9F-4B3A-8A06-479623F01819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946533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742EDA-8538-465A-8AC3-47BF86DC1293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A27E71-DB1C-4CD2-B547-7F1069C4F857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801043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57975" y="366713"/>
            <a:ext cx="2085975" cy="602456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95288" y="366713"/>
            <a:ext cx="6110287" cy="60245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DB0C88D-85DD-422E-9BFA-61AA4AE0840A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0C7E76-D130-4434-97F1-012736BCDAEE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558861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 bwMode="gray"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6725" y="369888"/>
            <a:ext cx="8205788" cy="1258887"/>
          </a:xfrm>
        </p:spPr>
        <p:txBody>
          <a:bodyPr/>
          <a:lstStyle>
            <a:lvl1pPr>
              <a:lnSpc>
                <a:spcPts val="5000"/>
              </a:lnSpc>
              <a:defRPr sz="4100" smtClean="0"/>
            </a:lvl1pPr>
          </a:lstStyle>
          <a:p>
            <a:pPr lvl="0"/>
            <a:r>
              <a:rPr lang="en-US" noProof="0" smtClean="0"/>
              <a:t>Titelmasterformat durch Klicken bearbeiten</a:t>
            </a:r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6725" y="1978025"/>
            <a:ext cx="8205788" cy="3375025"/>
          </a:xfrm>
        </p:spPr>
        <p:txBody>
          <a:bodyPr/>
          <a:lstStyle>
            <a:lvl1pPr>
              <a:lnSpc>
                <a:spcPct val="100000"/>
              </a:lnSpc>
              <a:spcAft>
                <a:spcPct val="0"/>
              </a:spcAft>
              <a:defRPr sz="1300" smtClean="0"/>
            </a:lvl1pPr>
          </a:lstStyle>
          <a:p>
            <a:pPr lvl="0"/>
            <a:r>
              <a:rPr lang="en-US" noProof="0" smtClean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461507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FE7CDF4-A86E-4A18-A487-D717C5AE9221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8702B5-FC6D-4875-B16F-D2B38D2729E4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776657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4"/>
          <p:cNvCxnSpPr/>
          <p:nvPr/>
        </p:nvCxnSpPr>
        <p:spPr>
          <a:xfrm>
            <a:off x="395288" y="6551613"/>
            <a:ext cx="834866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14" descr="WortMArke_1200dpi_0,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8913" y="6650038"/>
            <a:ext cx="938212" cy="10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35B40AD9-F60B-4963-919B-C1ABF49AECE8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2262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4"/>
          <p:cNvCxnSpPr/>
          <p:nvPr/>
        </p:nvCxnSpPr>
        <p:spPr>
          <a:xfrm>
            <a:off x="395288" y="6551613"/>
            <a:ext cx="834866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14" descr="WortMArke_1200dpi_0,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8913" y="6650038"/>
            <a:ext cx="938212" cy="10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1E810C5E-3252-4443-A939-5D54D7D96D56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804636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4"/>
          <p:cNvCxnSpPr/>
          <p:nvPr/>
        </p:nvCxnSpPr>
        <p:spPr>
          <a:xfrm>
            <a:off x="395288" y="6551613"/>
            <a:ext cx="834866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14" descr="WortMArke_1200dpi_0,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8913" y="6650038"/>
            <a:ext cx="938212" cy="10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803D652D-80E3-49DB-83D7-32BFE8054AFB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980507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4"/>
          <p:cNvCxnSpPr/>
          <p:nvPr/>
        </p:nvCxnSpPr>
        <p:spPr>
          <a:xfrm>
            <a:off x="395288" y="6551613"/>
            <a:ext cx="834866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4" descr="WortMArke_1200dpi_0,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8913" y="6650038"/>
            <a:ext cx="938212" cy="10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420813"/>
            <a:ext cx="4097337" cy="4970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5025" y="1420813"/>
            <a:ext cx="4098925" cy="4970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BAA80ADA-C832-406E-A3F4-C60E70CF5B06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517613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Gerade Verbindung 4"/>
          <p:cNvCxnSpPr/>
          <p:nvPr/>
        </p:nvCxnSpPr>
        <p:spPr>
          <a:xfrm>
            <a:off x="395288" y="6551613"/>
            <a:ext cx="834866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14" descr="WortMArke_1200dpi_0,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8913" y="6650038"/>
            <a:ext cx="938212" cy="10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657AC3B0-6C6F-4F91-B02D-83D3C3EE9514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441244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erade Verbindung 4"/>
          <p:cNvCxnSpPr/>
          <p:nvPr/>
        </p:nvCxnSpPr>
        <p:spPr>
          <a:xfrm>
            <a:off x="395288" y="6551613"/>
            <a:ext cx="834866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14" descr="WortMArke_1200dpi_0,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8913" y="6650038"/>
            <a:ext cx="938212" cy="10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8ACFA70C-1DA4-45B0-9D86-EAF9036AACD1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069925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Gerade Verbindung 4"/>
          <p:cNvCxnSpPr/>
          <p:nvPr/>
        </p:nvCxnSpPr>
        <p:spPr>
          <a:xfrm>
            <a:off x="395288" y="6551613"/>
            <a:ext cx="834866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14" descr="WortMArke_1200dpi_0,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8913" y="6650038"/>
            <a:ext cx="938212" cy="10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0DBC8F50-E3AD-47E8-92A2-D29AD406DBB8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407517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4"/>
          <p:cNvCxnSpPr/>
          <p:nvPr/>
        </p:nvCxnSpPr>
        <p:spPr>
          <a:xfrm>
            <a:off x="395288" y="6551613"/>
            <a:ext cx="834866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4" descr="WortMArke_1200dpi_0,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8913" y="6650038"/>
            <a:ext cx="938212" cy="10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60E6400B-017A-458C-9BE1-E28A5C7FF958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015191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4"/>
          <p:cNvCxnSpPr/>
          <p:nvPr/>
        </p:nvCxnSpPr>
        <p:spPr>
          <a:xfrm>
            <a:off x="395288" y="6551613"/>
            <a:ext cx="834866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4" descr="WortMArke_1200dpi_0,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8913" y="6650038"/>
            <a:ext cx="938212" cy="10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3F98988C-4EDB-47EA-BA3B-AA04C1062EB2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477962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4"/>
          <p:cNvCxnSpPr/>
          <p:nvPr/>
        </p:nvCxnSpPr>
        <p:spPr>
          <a:xfrm>
            <a:off x="395288" y="6551613"/>
            <a:ext cx="834866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14" descr="WortMArke_1200dpi_0,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8913" y="6650038"/>
            <a:ext cx="938212" cy="10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9CBD9B19-79D5-41F5-8036-C755D1A2DB4B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1428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70CB4A-F350-4874-86D2-2A68F3B570B3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5F7ACC-5298-487A-8817-507A2A9C447C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758777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4"/>
          <p:cNvCxnSpPr/>
          <p:nvPr/>
        </p:nvCxnSpPr>
        <p:spPr>
          <a:xfrm>
            <a:off x="395288" y="6551613"/>
            <a:ext cx="834866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14" descr="WortMArke_1200dpi_0,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8913" y="6650038"/>
            <a:ext cx="938212" cy="10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57975" y="366713"/>
            <a:ext cx="2085975" cy="6024562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395288" y="366713"/>
            <a:ext cx="6110287" cy="6024562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DB13FDA5-A680-4044-93CB-1C7C40A7493B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603984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 and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4"/>
          <p:cNvCxnSpPr/>
          <p:nvPr/>
        </p:nvCxnSpPr>
        <p:spPr>
          <a:xfrm>
            <a:off x="395288" y="6551613"/>
            <a:ext cx="834866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4" descr="WortMArke_1200dpi_0,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8913" y="6650038"/>
            <a:ext cx="938212" cy="10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366713"/>
            <a:ext cx="8348662" cy="73818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5288" y="1211263"/>
            <a:ext cx="8348662" cy="25130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95288" y="3876675"/>
            <a:ext cx="8348662" cy="2514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083F8D75-824F-4F35-B5D8-B57EDB7E17E8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74914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4"/>
          <p:cNvCxnSpPr/>
          <p:nvPr/>
        </p:nvCxnSpPr>
        <p:spPr>
          <a:xfrm>
            <a:off x="395288" y="6551613"/>
            <a:ext cx="834866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14" descr="WortMArke_1200dpi_0,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8913" y="6650038"/>
            <a:ext cx="938212" cy="10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366713"/>
            <a:ext cx="8348662" cy="73818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95288" y="1211263"/>
            <a:ext cx="8348662" cy="5180012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731AB8CE-1355-41D9-9BB6-93EB50F51024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89081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67998" y="370287"/>
            <a:ext cx="8208000" cy="1260000"/>
          </a:xfrm>
        </p:spPr>
        <p:txBody>
          <a:bodyPr/>
          <a:lstStyle>
            <a:lvl1pPr>
              <a:lnSpc>
                <a:spcPts val="5000"/>
              </a:lnSpc>
              <a:defRPr sz="4500"/>
            </a:lvl1pPr>
          </a:lstStyle>
          <a:p>
            <a:r>
              <a:rPr lang="en-US" noProof="0" dirty="0" smtClean="0"/>
              <a:t>Presentation title 45 pt on two lines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8001" y="1936800"/>
            <a:ext cx="8209018" cy="33768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Additional text for presentation 15 pt</a:t>
            </a:r>
          </a:p>
          <a:p>
            <a:pPr lvl="0"/>
            <a:r>
              <a:rPr lang="en-US" noProof="0" dirty="0" smtClean="0"/>
              <a:t>First name, surname, department, place, date</a:t>
            </a:r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287923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s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67998" y="3638210"/>
            <a:ext cx="8208000" cy="1260000"/>
          </a:xfrm>
        </p:spPr>
        <p:txBody>
          <a:bodyPr/>
          <a:lstStyle>
            <a:lvl1pPr>
              <a:lnSpc>
                <a:spcPts val="5000"/>
              </a:lnSpc>
              <a:defRPr sz="4500"/>
            </a:lvl1pPr>
          </a:lstStyle>
          <a:p>
            <a:r>
              <a:rPr lang="en-US" noProof="0" dirty="0" smtClean="0"/>
              <a:t>Presentation title 45 pt on two lines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7998" y="5204381"/>
            <a:ext cx="5040000" cy="11880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Additional text for presentation 15 pt</a:t>
            </a:r>
          </a:p>
          <a:p>
            <a:pPr lvl="0"/>
            <a:r>
              <a:rPr lang="en-US" noProof="0" dirty="0" smtClean="0"/>
              <a:t>First name, surname, department</a:t>
            </a:r>
            <a:r>
              <a:rPr lang="en-US" noProof="0" smtClean="0"/>
              <a:t>, place, </a:t>
            </a:r>
            <a:r>
              <a:rPr lang="en-US" noProof="0" dirty="0" smtClean="0"/>
              <a:t>dat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342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Add image by clicking symbol</a:t>
            </a:r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900473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headline on two lines als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for content page in CorpoA Regular 30 pt on two line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Text slides are in CorpoS Regular, 20 pt.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F0FC925-DEDF-4CB0-B385-E4FE6B66FD47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09514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de slide headline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for content page in CorpoA Regular 30 pt on two lines</a:t>
            </a:r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392C939-1ED3-44E9-8F6D-BD63CE96F489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9" hasCustomPrompt="1"/>
          </p:nvPr>
        </p:nvSpPr>
        <p:spPr>
          <a:xfrm>
            <a:off x="395288" y="1490400"/>
            <a:ext cx="8352000" cy="4905638"/>
          </a:xfrm>
        </p:spPr>
        <p:txBody>
          <a:bodyPr/>
          <a:lstStyle/>
          <a:p>
            <a:r>
              <a:rPr lang="en-US" noProof="0" smtClean="0"/>
              <a:t>Add image by clicking symbol</a:t>
            </a:r>
            <a:endParaRPr lang="en-US" noProof="0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420811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page and caption beneath th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Headline for content page in CorpoA Regular 30 pt on two lines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 hasCustomPrompt="1"/>
          </p:nvPr>
        </p:nvSpPr>
        <p:spPr>
          <a:xfrm>
            <a:off x="395288" y="1490400"/>
            <a:ext cx="8352000" cy="4458880"/>
          </a:xfrm>
        </p:spPr>
        <p:txBody>
          <a:bodyPr/>
          <a:lstStyle/>
          <a:p>
            <a:r>
              <a:rPr lang="en-US" smtClean="0"/>
              <a:t>Add image by clicking symbol</a:t>
            </a:r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95288" y="6107810"/>
            <a:ext cx="8353425" cy="288032"/>
          </a:xfrm>
        </p:spPr>
        <p:txBody>
          <a:bodyPr tIns="0"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 baseline="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9pPr>
          </a:lstStyle>
          <a:p>
            <a:pPr lvl="0"/>
            <a:r>
              <a:rPr lang="en-US" dirty="0" smtClean="0"/>
              <a:t>Captions are in CorpoS 9 pt and are placed 0.4 cm beneath the image.</a:t>
            </a:r>
            <a:endParaRPr lang="de-DE" dirty="0" smtClean="0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smtClean="0"/>
              <a:t>Optional chapter heading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10979669-62B2-4874-BE74-4CB5E10FF4DA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 dirty="0" smtClean="0">
              <a:solidFill>
                <a:prstClr val="black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52586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624AA3-81AE-4F96-B3E2-D95FB6E1550F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6469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902CF5-0601-470E-BA9F-D4AD0B89D528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0371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C36048-61D9-4020-B148-63C3D3826AC3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MAD-Presentation | Mercedes-Benz Thailand | Sep 5th, 2012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53EDA4-CA7D-452B-87FE-EDD266C35F56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202676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page headline &amp;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for content page in CorpoA Regular 30 pt on two line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6000" y="3789040"/>
            <a:ext cx="8352000" cy="2602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Text slides are in CorpoS Regular, 20 pt.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 hasCustomPrompt="1"/>
          </p:nvPr>
        </p:nvSpPr>
        <p:spPr>
          <a:xfrm>
            <a:off x="395288" y="1490400"/>
            <a:ext cx="4140000" cy="216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 smtClean="0"/>
              <a:t>Add image by clicking symbol</a:t>
            </a:r>
            <a:endParaRPr lang="en-US" noProof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6" hasCustomPrompt="1"/>
          </p:nvPr>
        </p:nvSpPr>
        <p:spPr>
          <a:xfrm>
            <a:off x="4608464" y="1490400"/>
            <a:ext cx="4140000" cy="216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 smtClean="0"/>
              <a:t>Add image by clicking symbol</a:t>
            </a:r>
            <a:endParaRPr lang="en-US" noProof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880B2542-BA75-49B8-B1BF-7212B24A1588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4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581157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page headline &amp;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for content page in CorpoA Regular 30 pt on two line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44000" y="1484784"/>
            <a:ext cx="4104000" cy="4906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Text slides are in CorpoS Regular, 20 pt.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E89871-7EBD-4E6E-A0A7-A37F84616B8E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 hasCustomPrompt="1"/>
          </p:nvPr>
        </p:nvSpPr>
        <p:spPr>
          <a:xfrm>
            <a:off x="395288" y="1490400"/>
            <a:ext cx="4104000" cy="4899600"/>
          </a:xfrm>
        </p:spPr>
        <p:txBody>
          <a:bodyPr/>
          <a:lstStyle/>
          <a:p>
            <a:r>
              <a:rPr lang="en-US" noProof="0" smtClean="0"/>
              <a:t>Add image by clicking symbol</a:t>
            </a:r>
            <a:endParaRPr lang="en-US" noProof="0"/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1828567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page image in type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57C36-4802-484F-8BA4-2EB847CF51C0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 hasCustomPrompt="1"/>
          </p:nvPr>
        </p:nvSpPr>
        <p:spPr>
          <a:xfrm>
            <a:off x="396000" y="377999"/>
            <a:ext cx="8352000" cy="6012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 smtClean="0"/>
              <a:t>Add image by clicking symbol</a:t>
            </a:r>
            <a:endParaRPr lang="en-US" noProof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571673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95288" y="370800"/>
            <a:ext cx="8352000" cy="1260000"/>
          </a:xfrm>
        </p:spPr>
        <p:txBody>
          <a:bodyPr/>
          <a:lstStyle>
            <a:lvl1pPr>
              <a:lnSpc>
                <a:spcPts val="5000"/>
              </a:lnSpc>
              <a:defRPr sz="4500"/>
            </a:lvl1pPr>
          </a:lstStyle>
          <a:p>
            <a:r>
              <a:rPr lang="en-US" noProof="0" dirty="0" smtClean="0"/>
              <a:t>Chapter heading 45 pt on two lines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96000" y="1936800"/>
            <a:ext cx="8352000" cy="33768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9pPr>
          </a:lstStyle>
          <a:p>
            <a:pPr lvl="6"/>
            <a:r>
              <a:rPr lang="en-US" noProof="0" dirty="0" smtClean="0"/>
              <a:t>Additional text for chapter heading 15pt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3DBB2-C1FF-4EAA-8D67-940CDE8B19D5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33814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96000" y="3639600"/>
            <a:ext cx="8352000" cy="1260000"/>
          </a:xfrm>
        </p:spPr>
        <p:txBody>
          <a:bodyPr/>
          <a:lstStyle>
            <a:lvl1pPr>
              <a:lnSpc>
                <a:spcPts val="5000"/>
              </a:lnSpc>
              <a:defRPr sz="4500"/>
            </a:lvl1pPr>
          </a:lstStyle>
          <a:p>
            <a:r>
              <a:rPr lang="en-US" noProof="0" dirty="0" smtClean="0"/>
              <a:t>Chapter heading 45 pt on two lines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96000" y="5205600"/>
            <a:ext cx="8352000" cy="11880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Additional text for chapter heading 15pt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4FCA7-9A29-4061-BA8E-B6F6C44991AD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342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Add image by clicking symbol</a:t>
            </a:r>
            <a:endParaRPr lang="de-DE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56953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for content page in CorpoA Regular 30 pt on two line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6000" y="1490399"/>
            <a:ext cx="8352000" cy="360000"/>
          </a:xfr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1500" b="1"/>
            </a:lvl1pPr>
            <a:lvl2pPr marL="0" indent="0">
              <a:buNone/>
              <a:defRPr sz="1500"/>
            </a:lvl2pPr>
            <a:lvl3pPr marL="0" indent="0">
              <a:buNone/>
              <a:defRPr sz="1500"/>
            </a:lvl3pPr>
            <a:lvl4pPr marL="0" indent="0">
              <a:buNone/>
              <a:defRPr sz="1500"/>
            </a:lvl4pPr>
            <a:lvl5pPr marL="0" indent="0">
              <a:buNone/>
              <a:defRPr sz="1500"/>
            </a:lvl5pPr>
            <a:lvl6pPr marL="0" indent="0">
              <a:buNone/>
              <a:defRPr sz="1500"/>
            </a:lvl6pPr>
            <a:lvl7pPr marL="0" indent="0">
              <a:buNone/>
              <a:defRPr sz="1500"/>
            </a:lvl7pPr>
            <a:lvl8pPr marL="0" indent="0">
              <a:buNone/>
              <a:defRPr sz="1500"/>
            </a:lvl8pPr>
            <a:lvl9pPr marL="0" indent="0">
              <a:buNone/>
              <a:defRPr sz="1500"/>
            </a:lvl9pPr>
          </a:lstStyle>
          <a:p>
            <a:pPr lvl="0"/>
            <a:r>
              <a:rPr lang="en-US" noProof="0" dirty="0" smtClean="0"/>
              <a:t>Edit text master format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BAE5370-4D3E-433C-ACC2-0FB7C6E2F72D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2" name="Inhaltsplatzhalter 2"/>
          <p:cNvSpPr>
            <a:spLocks noGrp="1"/>
          </p:cNvSpPr>
          <p:nvPr>
            <p:ph idx="18" hasCustomPrompt="1"/>
          </p:nvPr>
        </p:nvSpPr>
        <p:spPr>
          <a:xfrm>
            <a:off x="395536" y="2159999"/>
            <a:ext cx="8352000" cy="3805200"/>
          </a:xfr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1500" b="1"/>
            </a:lvl1pPr>
            <a:lvl2pPr marL="0" indent="0">
              <a:buNone/>
              <a:defRPr sz="1500"/>
            </a:lvl2pPr>
            <a:lvl3pPr marL="0" indent="0">
              <a:buNone/>
              <a:defRPr sz="1500"/>
            </a:lvl3pPr>
            <a:lvl4pPr marL="0" indent="0">
              <a:buNone/>
              <a:defRPr sz="1500"/>
            </a:lvl4pPr>
            <a:lvl5pPr marL="0" indent="0">
              <a:buNone/>
              <a:defRPr sz="1500"/>
            </a:lvl5pPr>
            <a:lvl6pPr marL="0" indent="0">
              <a:buNone/>
              <a:defRPr sz="1500"/>
            </a:lvl6pPr>
            <a:lvl7pPr marL="0" indent="0">
              <a:buNone/>
              <a:defRPr sz="1500"/>
            </a:lvl7pPr>
            <a:lvl8pPr marL="0" indent="0">
              <a:buNone/>
              <a:defRPr sz="1500"/>
            </a:lvl8pPr>
            <a:lvl9pPr marL="0" indent="0">
              <a:buNone/>
              <a:defRPr sz="1500"/>
            </a:lvl9pPr>
          </a:lstStyle>
          <a:p>
            <a:pPr lvl="0"/>
            <a:r>
              <a:rPr lang="en-US" noProof="0" dirty="0" smtClean="0"/>
              <a:t>Edit text master format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395288" y="6107810"/>
            <a:ext cx="8353425" cy="288032"/>
          </a:xfrm>
        </p:spPr>
        <p:txBody>
          <a:bodyPr tIns="0"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00"/>
            </a:lvl9pPr>
          </a:lstStyle>
          <a:p>
            <a:pPr lvl="0"/>
            <a:r>
              <a:rPr lang="en-US" noProof="0" dirty="0" smtClean="0"/>
              <a:t>Table captions are in CorpoS 9 pt and are placed 0.4 cm beneath the table.</a:t>
            </a:r>
          </a:p>
        </p:txBody>
      </p:sp>
    </p:spTree>
    <p:extLst>
      <p:ext uri="{BB962C8B-B14F-4D97-AF65-F5344CB8AC3E}">
        <p14:creationId xmlns:p14="http://schemas.microsoft.com/office/powerpoint/2010/main" val="3163692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857ED6-EE47-469F-9B10-9EEB651A6731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401878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67998" y="370287"/>
            <a:ext cx="8208000" cy="1260000"/>
          </a:xfrm>
        </p:spPr>
        <p:txBody>
          <a:bodyPr/>
          <a:lstStyle>
            <a:lvl1pPr>
              <a:lnSpc>
                <a:spcPts val="5000"/>
              </a:lnSpc>
              <a:defRPr sz="4500"/>
            </a:lvl1pPr>
          </a:lstStyle>
          <a:p>
            <a:r>
              <a:rPr lang="en-US" noProof="0" dirty="0" smtClean="0"/>
              <a:t>Presentation title 45 pt on two lines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8001" y="1936800"/>
            <a:ext cx="8209018" cy="33768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Additional text for presentation 15 pt</a:t>
            </a:r>
          </a:p>
          <a:p>
            <a:pPr lvl="0"/>
            <a:r>
              <a:rPr lang="en-US" noProof="0" dirty="0" smtClean="0"/>
              <a:t>First name, surname, department, place, date</a:t>
            </a:r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72951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s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67998" y="3638210"/>
            <a:ext cx="8208000" cy="1260000"/>
          </a:xfrm>
        </p:spPr>
        <p:txBody>
          <a:bodyPr/>
          <a:lstStyle>
            <a:lvl1pPr>
              <a:lnSpc>
                <a:spcPts val="5000"/>
              </a:lnSpc>
              <a:defRPr sz="4500"/>
            </a:lvl1pPr>
          </a:lstStyle>
          <a:p>
            <a:r>
              <a:rPr lang="en-US" noProof="0" dirty="0" smtClean="0"/>
              <a:t>Presentation title 45 pt on two lines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67998" y="5204381"/>
            <a:ext cx="5040000" cy="11880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Additional text for presentation 15 pt</a:t>
            </a:r>
          </a:p>
          <a:p>
            <a:pPr lvl="0"/>
            <a:r>
              <a:rPr lang="en-US" noProof="0" dirty="0" smtClean="0"/>
              <a:t>First name, surname, department</a:t>
            </a:r>
            <a:r>
              <a:rPr lang="en-US" noProof="0" smtClean="0"/>
              <a:t>, place, </a:t>
            </a:r>
            <a:r>
              <a:rPr lang="en-US" noProof="0" dirty="0" smtClean="0"/>
              <a:t>dat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3420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Add image by clicking symbol</a:t>
            </a:r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01664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headline on two lines als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for content page in CorpoA Regular 30 pt on two lines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Text slides are in CorpoS Regular, 20 pt.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F0FC925-DEDF-4CB0-B385-E4FE6B66FD47}" type="datetime1">
              <a:rPr lang="en-US" smtClean="0">
                <a:solidFill>
                  <a:prstClr val="black"/>
                </a:solidFill>
              </a:rPr>
              <a:pPr/>
              <a:t>5/24/20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Annual Dealer Meeting 2012 | 14.12.2012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en-US" smtClean="0">
                <a:solidFill>
                  <a:prstClr val="black"/>
                </a:solidFill>
              </a:rPr>
              <a:pPr/>
              <a:t>‹Nr.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144000"/>
            <a:ext cx="5256000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  <a:lvl6pPr marL="0" indent="0">
              <a:buNone/>
              <a:defRPr sz="1200"/>
            </a:lvl6pPr>
            <a:lvl7pPr marL="0" indent="0">
              <a:buNone/>
              <a:defRPr sz="1200"/>
            </a:lvl7pPr>
            <a:lvl8pPr marL="0" indent="0">
              <a:buNone/>
              <a:defRPr sz="1200"/>
            </a:lvl8pPr>
            <a:lvl9pPr marL="0" indent="0"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652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914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 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140128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9.xml"/><Relationship Id="rId13" Type="http://schemas.openxmlformats.org/officeDocument/2006/relationships/slideLayout" Target="../slideLayouts/slideLayout124.xml"/><Relationship Id="rId3" Type="http://schemas.openxmlformats.org/officeDocument/2006/relationships/slideLayout" Target="../slideLayouts/slideLayout114.xml"/><Relationship Id="rId7" Type="http://schemas.openxmlformats.org/officeDocument/2006/relationships/slideLayout" Target="../slideLayouts/slideLayout118.xml"/><Relationship Id="rId12" Type="http://schemas.openxmlformats.org/officeDocument/2006/relationships/slideLayout" Target="../slideLayouts/slideLayout123.xml"/><Relationship Id="rId2" Type="http://schemas.openxmlformats.org/officeDocument/2006/relationships/slideLayout" Target="../slideLayouts/slideLayout113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1" Type="http://schemas.openxmlformats.org/officeDocument/2006/relationships/slideLayout" Target="../slideLayouts/slideLayout122.xml"/><Relationship Id="rId5" Type="http://schemas.openxmlformats.org/officeDocument/2006/relationships/slideLayout" Target="../slideLayouts/slideLayout116.xml"/><Relationship Id="rId15" Type="http://schemas.openxmlformats.org/officeDocument/2006/relationships/theme" Target="../theme/theme10.xml"/><Relationship Id="rId10" Type="http://schemas.openxmlformats.org/officeDocument/2006/relationships/slideLayout" Target="../slideLayouts/slideLayout121.xml"/><Relationship Id="rId4" Type="http://schemas.openxmlformats.org/officeDocument/2006/relationships/slideLayout" Target="../slideLayouts/slideLayout115.xml"/><Relationship Id="rId9" Type="http://schemas.openxmlformats.org/officeDocument/2006/relationships/slideLayout" Target="../slideLayouts/slideLayout120.xml"/><Relationship Id="rId14" Type="http://schemas.openxmlformats.org/officeDocument/2006/relationships/slideLayout" Target="../slideLayouts/slideLayout12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.xml"/><Relationship Id="rId13" Type="http://schemas.openxmlformats.org/officeDocument/2006/relationships/slideLayout" Target="../slideLayouts/slideLayout138.xml"/><Relationship Id="rId3" Type="http://schemas.openxmlformats.org/officeDocument/2006/relationships/slideLayout" Target="../slideLayouts/slideLayout128.xml"/><Relationship Id="rId7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37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127.xml"/><Relationship Id="rId16" Type="http://schemas.openxmlformats.org/officeDocument/2006/relationships/theme" Target="../theme/theme11.xml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5" Type="http://schemas.openxmlformats.org/officeDocument/2006/relationships/slideLayout" Target="../slideLayouts/slideLayout130.xml"/><Relationship Id="rId15" Type="http://schemas.openxmlformats.org/officeDocument/2006/relationships/slideLayout" Target="../slideLayouts/slideLayout140.xml"/><Relationship Id="rId10" Type="http://schemas.openxmlformats.org/officeDocument/2006/relationships/slideLayout" Target="../slideLayouts/slideLayout135.x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Relationship Id="rId14" Type="http://schemas.openxmlformats.org/officeDocument/2006/relationships/slideLayout" Target="../slideLayouts/slideLayout13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8.xml"/><Relationship Id="rId13" Type="http://schemas.openxmlformats.org/officeDocument/2006/relationships/slideLayout" Target="../slideLayouts/slideLayout153.xml"/><Relationship Id="rId3" Type="http://schemas.openxmlformats.org/officeDocument/2006/relationships/slideLayout" Target="../slideLayouts/slideLayout143.xml"/><Relationship Id="rId7" Type="http://schemas.openxmlformats.org/officeDocument/2006/relationships/slideLayout" Target="../slideLayouts/slideLayout147.xml"/><Relationship Id="rId12" Type="http://schemas.openxmlformats.org/officeDocument/2006/relationships/slideLayout" Target="../slideLayouts/slideLayout15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142.xml"/><Relationship Id="rId16" Type="http://schemas.openxmlformats.org/officeDocument/2006/relationships/theme" Target="../theme/theme12.xml"/><Relationship Id="rId1" Type="http://schemas.openxmlformats.org/officeDocument/2006/relationships/slideLayout" Target="../slideLayouts/slideLayout141.xml"/><Relationship Id="rId6" Type="http://schemas.openxmlformats.org/officeDocument/2006/relationships/slideLayout" Target="../slideLayouts/slideLayout146.xml"/><Relationship Id="rId11" Type="http://schemas.openxmlformats.org/officeDocument/2006/relationships/slideLayout" Target="../slideLayouts/slideLayout151.xml"/><Relationship Id="rId5" Type="http://schemas.openxmlformats.org/officeDocument/2006/relationships/slideLayout" Target="../slideLayouts/slideLayout145.xml"/><Relationship Id="rId15" Type="http://schemas.openxmlformats.org/officeDocument/2006/relationships/slideLayout" Target="../slideLayouts/slideLayout155.xml"/><Relationship Id="rId10" Type="http://schemas.openxmlformats.org/officeDocument/2006/relationships/slideLayout" Target="../slideLayouts/slideLayout150.xml"/><Relationship Id="rId4" Type="http://schemas.openxmlformats.org/officeDocument/2006/relationships/slideLayout" Target="../slideLayouts/slideLayout144.xml"/><Relationship Id="rId9" Type="http://schemas.openxmlformats.org/officeDocument/2006/relationships/slideLayout" Target="../slideLayouts/slideLayout149.xml"/><Relationship Id="rId14" Type="http://schemas.openxmlformats.org/officeDocument/2006/relationships/slideLayout" Target="../slideLayouts/slideLayout154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3.xml"/><Relationship Id="rId13" Type="http://schemas.openxmlformats.org/officeDocument/2006/relationships/slideLayout" Target="../slideLayouts/slideLayout168.xml"/><Relationship Id="rId18" Type="http://schemas.openxmlformats.org/officeDocument/2006/relationships/slideLayout" Target="../slideLayouts/slideLayout173.xml"/><Relationship Id="rId3" Type="http://schemas.openxmlformats.org/officeDocument/2006/relationships/slideLayout" Target="../slideLayouts/slideLayout158.xml"/><Relationship Id="rId7" Type="http://schemas.openxmlformats.org/officeDocument/2006/relationships/slideLayout" Target="../slideLayouts/slideLayout162.xml"/><Relationship Id="rId12" Type="http://schemas.openxmlformats.org/officeDocument/2006/relationships/slideLayout" Target="../slideLayouts/slideLayout167.xml"/><Relationship Id="rId17" Type="http://schemas.openxmlformats.org/officeDocument/2006/relationships/slideLayout" Target="../slideLayouts/slideLayout172.xml"/><Relationship Id="rId2" Type="http://schemas.openxmlformats.org/officeDocument/2006/relationships/slideLayout" Target="../slideLayouts/slideLayout157.xml"/><Relationship Id="rId16" Type="http://schemas.openxmlformats.org/officeDocument/2006/relationships/slideLayout" Target="../slideLayouts/slideLayout171.xml"/><Relationship Id="rId20" Type="http://schemas.openxmlformats.org/officeDocument/2006/relationships/image" Target="../media/image6.jpeg"/><Relationship Id="rId1" Type="http://schemas.openxmlformats.org/officeDocument/2006/relationships/slideLayout" Target="../slideLayouts/slideLayout156.xml"/><Relationship Id="rId6" Type="http://schemas.openxmlformats.org/officeDocument/2006/relationships/slideLayout" Target="../slideLayouts/slideLayout161.xml"/><Relationship Id="rId11" Type="http://schemas.openxmlformats.org/officeDocument/2006/relationships/slideLayout" Target="../slideLayouts/slideLayout166.xml"/><Relationship Id="rId5" Type="http://schemas.openxmlformats.org/officeDocument/2006/relationships/slideLayout" Target="../slideLayouts/slideLayout160.xml"/><Relationship Id="rId15" Type="http://schemas.openxmlformats.org/officeDocument/2006/relationships/slideLayout" Target="../slideLayouts/slideLayout170.xml"/><Relationship Id="rId10" Type="http://schemas.openxmlformats.org/officeDocument/2006/relationships/slideLayout" Target="../slideLayouts/slideLayout165.xml"/><Relationship Id="rId19" Type="http://schemas.openxmlformats.org/officeDocument/2006/relationships/theme" Target="../theme/theme13.xml"/><Relationship Id="rId4" Type="http://schemas.openxmlformats.org/officeDocument/2006/relationships/slideLayout" Target="../slideLayouts/slideLayout159.xml"/><Relationship Id="rId9" Type="http://schemas.openxmlformats.org/officeDocument/2006/relationships/slideLayout" Target="../slideLayouts/slideLayout164.xml"/><Relationship Id="rId14" Type="http://schemas.openxmlformats.org/officeDocument/2006/relationships/slideLayout" Target="../slideLayouts/slideLayout169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1.xml"/><Relationship Id="rId13" Type="http://schemas.openxmlformats.org/officeDocument/2006/relationships/slideLayout" Target="../slideLayouts/slideLayout186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176.xml"/><Relationship Id="rId7" Type="http://schemas.openxmlformats.org/officeDocument/2006/relationships/slideLayout" Target="../slideLayouts/slideLayout180.xml"/><Relationship Id="rId12" Type="http://schemas.openxmlformats.org/officeDocument/2006/relationships/slideLayout" Target="../slideLayouts/slideLayout185.xml"/><Relationship Id="rId17" Type="http://schemas.openxmlformats.org/officeDocument/2006/relationships/theme" Target="../theme/theme14.xml"/><Relationship Id="rId2" Type="http://schemas.openxmlformats.org/officeDocument/2006/relationships/slideLayout" Target="../slideLayouts/slideLayout175.xml"/><Relationship Id="rId16" Type="http://schemas.openxmlformats.org/officeDocument/2006/relationships/slideLayout" Target="../slideLayouts/slideLayout189.xml"/><Relationship Id="rId1" Type="http://schemas.openxmlformats.org/officeDocument/2006/relationships/slideLayout" Target="../slideLayouts/slideLayout174.xml"/><Relationship Id="rId6" Type="http://schemas.openxmlformats.org/officeDocument/2006/relationships/slideLayout" Target="../slideLayouts/slideLayout179.xml"/><Relationship Id="rId11" Type="http://schemas.openxmlformats.org/officeDocument/2006/relationships/slideLayout" Target="../slideLayouts/slideLayout184.xml"/><Relationship Id="rId5" Type="http://schemas.openxmlformats.org/officeDocument/2006/relationships/slideLayout" Target="../slideLayouts/slideLayout178.xml"/><Relationship Id="rId15" Type="http://schemas.openxmlformats.org/officeDocument/2006/relationships/slideLayout" Target="../slideLayouts/slideLayout188.xml"/><Relationship Id="rId10" Type="http://schemas.openxmlformats.org/officeDocument/2006/relationships/slideLayout" Target="../slideLayouts/slideLayout183.xml"/><Relationship Id="rId4" Type="http://schemas.openxmlformats.org/officeDocument/2006/relationships/slideLayout" Target="../slideLayouts/slideLayout177.xml"/><Relationship Id="rId9" Type="http://schemas.openxmlformats.org/officeDocument/2006/relationships/slideLayout" Target="../slideLayouts/slideLayout182.xml"/><Relationship Id="rId14" Type="http://schemas.openxmlformats.org/officeDocument/2006/relationships/slideLayout" Target="../slideLayouts/slideLayout187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7.xml"/><Relationship Id="rId13" Type="http://schemas.openxmlformats.org/officeDocument/2006/relationships/slideLayout" Target="../slideLayouts/slideLayout202.xml"/><Relationship Id="rId18" Type="http://schemas.openxmlformats.org/officeDocument/2006/relationships/theme" Target="../theme/theme15.xml"/><Relationship Id="rId3" Type="http://schemas.openxmlformats.org/officeDocument/2006/relationships/slideLayout" Target="../slideLayouts/slideLayout192.xml"/><Relationship Id="rId7" Type="http://schemas.openxmlformats.org/officeDocument/2006/relationships/slideLayout" Target="../slideLayouts/slideLayout196.xml"/><Relationship Id="rId12" Type="http://schemas.openxmlformats.org/officeDocument/2006/relationships/slideLayout" Target="../slideLayouts/slideLayout201.xml"/><Relationship Id="rId17" Type="http://schemas.openxmlformats.org/officeDocument/2006/relationships/slideLayout" Target="../slideLayouts/slideLayout206.xml"/><Relationship Id="rId2" Type="http://schemas.openxmlformats.org/officeDocument/2006/relationships/slideLayout" Target="../slideLayouts/slideLayout191.xml"/><Relationship Id="rId16" Type="http://schemas.openxmlformats.org/officeDocument/2006/relationships/slideLayout" Target="../slideLayouts/slideLayout205.xml"/><Relationship Id="rId1" Type="http://schemas.openxmlformats.org/officeDocument/2006/relationships/slideLayout" Target="../slideLayouts/slideLayout190.xml"/><Relationship Id="rId6" Type="http://schemas.openxmlformats.org/officeDocument/2006/relationships/slideLayout" Target="../slideLayouts/slideLayout195.xml"/><Relationship Id="rId11" Type="http://schemas.openxmlformats.org/officeDocument/2006/relationships/slideLayout" Target="../slideLayouts/slideLayout200.xml"/><Relationship Id="rId5" Type="http://schemas.openxmlformats.org/officeDocument/2006/relationships/slideLayout" Target="../slideLayouts/slideLayout194.xml"/><Relationship Id="rId15" Type="http://schemas.openxmlformats.org/officeDocument/2006/relationships/slideLayout" Target="../slideLayouts/slideLayout204.xml"/><Relationship Id="rId10" Type="http://schemas.openxmlformats.org/officeDocument/2006/relationships/slideLayout" Target="../slideLayouts/slideLayout199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193.xml"/><Relationship Id="rId9" Type="http://schemas.openxmlformats.org/officeDocument/2006/relationships/slideLayout" Target="../slideLayouts/slideLayout198.xml"/><Relationship Id="rId14" Type="http://schemas.openxmlformats.org/officeDocument/2006/relationships/slideLayout" Target="../slideLayouts/slideLayout203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4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209.xml"/><Relationship Id="rId7" Type="http://schemas.openxmlformats.org/officeDocument/2006/relationships/slideLayout" Target="../slideLayouts/slideLayout213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208.xml"/><Relationship Id="rId1" Type="http://schemas.openxmlformats.org/officeDocument/2006/relationships/slideLayout" Target="../slideLayouts/slideLayout207.xml"/><Relationship Id="rId6" Type="http://schemas.openxmlformats.org/officeDocument/2006/relationships/slideLayout" Target="../slideLayouts/slideLayout212.xml"/><Relationship Id="rId11" Type="http://schemas.openxmlformats.org/officeDocument/2006/relationships/slideLayout" Target="../slideLayouts/slideLayout217.xml"/><Relationship Id="rId5" Type="http://schemas.openxmlformats.org/officeDocument/2006/relationships/slideLayout" Target="../slideLayouts/slideLayout211.xml"/><Relationship Id="rId10" Type="http://schemas.openxmlformats.org/officeDocument/2006/relationships/slideLayout" Target="../slideLayouts/slideLayout216.xml"/><Relationship Id="rId4" Type="http://schemas.openxmlformats.org/officeDocument/2006/relationships/slideLayout" Target="../slideLayouts/slideLayout210.xml"/><Relationship Id="rId9" Type="http://schemas.openxmlformats.org/officeDocument/2006/relationships/slideLayout" Target="../slideLayouts/slideLayout215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5.xml"/><Relationship Id="rId13" Type="http://schemas.openxmlformats.org/officeDocument/2006/relationships/slideLayout" Target="../slideLayouts/slideLayout230.xml"/><Relationship Id="rId3" Type="http://schemas.openxmlformats.org/officeDocument/2006/relationships/slideLayout" Target="../slideLayouts/slideLayout220.xml"/><Relationship Id="rId7" Type="http://schemas.openxmlformats.org/officeDocument/2006/relationships/slideLayout" Target="../slideLayouts/slideLayout224.xml"/><Relationship Id="rId12" Type="http://schemas.openxmlformats.org/officeDocument/2006/relationships/slideLayout" Target="../slideLayouts/slideLayout229.xml"/><Relationship Id="rId2" Type="http://schemas.openxmlformats.org/officeDocument/2006/relationships/slideLayout" Target="../slideLayouts/slideLayout219.xml"/><Relationship Id="rId1" Type="http://schemas.openxmlformats.org/officeDocument/2006/relationships/slideLayout" Target="../slideLayouts/slideLayout218.xml"/><Relationship Id="rId6" Type="http://schemas.openxmlformats.org/officeDocument/2006/relationships/slideLayout" Target="../slideLayouts/slideLayout223.xml"/><Relationship Id="rId11" Type="http://schemas.openxmlformats.org/officeDocument/2006/relationships/slideLayout" Target="../slideLayouts/slideLayout228.xml"/><Relationship Id="rId5" Type="http://schemas.openxmlformats.org/officeDocument/2006/relationships/slideLayout" Target="../slideLayouts/slideLayout222.xml"/><Relationship Id="rId15" Type="http://schemas.openxmlformats.org/officeDocument/2006/relationships/image" Target="../media/image11.jpeg"/><Relationship Id="rId10" Type="http://schemas.openxmlformats.org/officeDocument/2006/relationships/slideLayout" Target="../slideLayouts/slideLayout227.xml"/><Relationship Id="rId4" Type="http://schemas.openxmlformats.org/officeDocument/2006/relationships/slideLayout" Target="../slideLayouts/slideLayout221.xml"/><Relationship Id="rId9" Type="http://schemas.openxmlformats.org/officeDocument/2006/relationships/slideLayout" Target="../slideLayouts/slideLayout226.xml"/><Relationship Id="rId14" Type="http://schemas.openxmlformats.org/officeDocument/2006/relationships/theme" Target="../theme/theme1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1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image" Target="../media/image4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image" Target="../media/image5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image" Target="../media/image1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image" Target="../media/image1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slideLayout" Target="../slideLayouts/slideLayout81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slideLayout" Target="../slideLayouts/slideLayout8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slideLayout" Target="../slideLayouts/slideLayout95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2" Type="http://schemas.openxmlformats.org/officeDocument/2006/relationships/slideLayout" Target="../slideLayouts/slideLayout84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5" Type="http://schemas.openxmlformats.org/officeDocument/2006/relationships/theme" Target="../theme/theme8.xml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slideLayout" Target="../slideLayouts/slideLayout9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slideLayout" Target="../slideLayouts/slideLayout109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98.xml"/><Relationship Id="rId16" Type="http://schemas.openxmlformats.org/officeDocument/2006/relationships/theme" Target="../theme/theme9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5" Type="http://schemas.openxmlformats.org/officeDocument/2006/relationships/slideLayout" Target="../slideLayouts/slideLayout111.xml"/><Relationship Id="rId10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366713"/>
            <a:ext cx="8348662" cy="900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88" y="1420813"/>
            <a:ext cx="8348662" cy="4970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masterformate durch Klicken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434013" y="6548438"/>
            <a:ext cx="766762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20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900">
                <a:latin typeface="CorpoS" pitchFamily="2" charset="0"/>
              </a:defRPr>
            </a:lvl1pPr>
          </a:lstStyle>
          <a:p>
            <a:pPr>
              <a:defRPr/>
            </a:pPr>
            <a:fld id="{2D7513F2-2B50-4B95-83D7-7F9CFFB18ADB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95288" y="6548438"/>
            <a:ext cx="4894262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200" rIns="0" bIns="0" numCol="1" anchor="ctr" anchorCtr="0" compatLnSpc="1">
            <a:prstTxWarp prst="textNoShape">
              <a:avLst/>
            </a:prstTxWarp>
          </a:bodyPr>
          <a:lstStyle>
            <a:lvl1pPr>
              <a:defRPr sz="900">
                <a:latin typeface="CorpoS" pitchFamily="2" charset="0"/>
              </a:defRPr>
            </a:lvl1pPr>
          </a:lstStyle>
          <a:p>
            <a:pPr>
              <a:defRPr/>
            </a:pPr>
            <a:r>
              <a:rPr lang="en-US"/>
              <a:t>MAD-Presentation | Mercedes-Benz Thailand | Sep 5th, 2012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725" y="6548438"/>
            <a:ext cx="252413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20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900">
                <a:latin typeface="CorpoS" pitchFamily="2" charset="0"/>
              </a:defRPr>
            </a:lvl1pPr>
          </a:lstStyle>
          <a:p>
            <a:pPr>
              <a:defRPr/>
            </a:pPr>
            <a:fld id="{8C97644C-4124-418B-902A-1FB5F9421893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  <p:cxnSp>
        <p:nvCxnSpPr>
          <p:cNvPr id="8" name="Gerade Verbindung 7"/>
          <p:cNvCxnSpPr/>
          <p:nvPr/>
        </p:nvCxnSpPr>
        <p:spPr>
          <a:xfrm>
            <a:off x="395288" y="6551613"/>
            <a:ext cx="834866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2" name="Picture 14" descr="WortMArke_1200dpi_0,3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8913" y="6650038"/>
            <a:ext cx="938212" cy="10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7190" r:id="rId1"/>
    <p:sldLayoutId id="2147487128" r:id="rId2"/>
    <p:sldLayoutId id="2147487129" r:id="rId3"/>
    <p:sldLayoutId id="2147487130" r:id="rId4"/>
    <p:sldLayoutId id="2147487131" r:id="rId5"/>
    <p:sldLayoutId id="2147487132" r:id="rId6"/>
    <p:sldLayoutId id="2147487133" r:id="rId7"/>
    <p:sldLayoutId id="2147487134" r:id="rId8"/>
    <p:sldLayoutId id="2147487135" r:id="rId9"/>
    <p:sldLayoutId id="2147487136" r:id="rId10"/>
    <p:sldLayoutId id="2147487137" r:id="rId11"/>
    <p:sldLayoutId id="2147487138" r:id="rId12"/>
    <p:sldLayoutId id="2147487139" r:id="rId13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9pPr>
    </p:titleStyle>
    <p:bodyStyle>
      <a:lvl1pPr marL="342900" indent="-342900" algn="l" rtl="0" eaLnBrk="0" fontAlgn="base" hangingPunct="0">
        <a:lnSpc>
          <a:spcPts val="2600"/>
        </a:lnSpc>
        <a:spcBef>
          <a:spcPct val="0"/>
        </a:spcBef>
        <a:spcAft>
          <a:spcPts val="1000"/>
        </a:spcAft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263525" indent="-261938" algn="l" rtl="0" eaLnBrk="0" fontAlgn="base" hangingPunct="0">
        <a:lnSpc>
          <a:spcPts val="2600"/>
        </a:lnSpc>
        <a:spcBef>
          <a:spcPct val="0"/>
        </a:spcBef>
        <a:spcAft>
          <a:spcPts val="1000"/>
        </a:spcAft>
        <a:buFont typeface="CorpoS" pitchFamily="2" charset="0"/>
        <a:buChar char="•"/>
        <a:defRPr sz="2000">
          <a:solidFill>
            <a:schemeClr val="tx1"/>
          </a:solidFill>
          <a:latin typeface="+mn-lt"/>
          <a:cs typeface="+mn-cs"/>
        </a:defRPr>
      </a:lvl2pPr>
      <a:lvl3pPr marL="538163" indent="-268288" algn="l" rtl="0" eaLnBrk="0" fontAlgn="base" hangingPunct="0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3pPr>
      <a:lvl4pPr marL="539750" indent="-269875" algn="l" rtl="0" eaLnBrk="0" fontAlgn="base" hangingPunct="0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4pPr>
      <a:lvl5pPr marL="539750" indent="-269875" algn="l" rtl="0" eaLnBrk="0" fontAlgn="base" hangingPunct="0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5pPr>
      <a:lvl6pPr marL="2960688" indent="-85725" algn="l" rtl="0" fontAlgn="base">
        <a:lnSpc>
          <a:spcPts val="2200"/>
        </a:lnSpc>
        <a:spcBef>
          <a:spcPct val="0"/>
        </a:spcBef>
        <a:spcAft>
          <a:spcPct val="50000"/>
        </a:spcAft>
        <a:buChar char="•"/>
        <a:defRPr sz="2000">
          <a:solidFill>
            <a:schemeClr val="tx1"/>
          </a:solidFill>
          <a:latin typeface="+mn-lt"/>
          <a:cs typeface="+mn-cs"/>
        </a:defRPr>
      </a:lvl6pPr>
      <a:lvl7pPr marL="3417888" indent="-85725" algn="l" rtl="0" fontAlgn="base">
        <a:lnSpc>
          <a:spcPts val="2200"/>
        </a:lnSpc>
        <a:spcBef>
          <a:spcPct val="0"/>
        </a:spcBef>
        <a:spcAft>
          <a:spcPct val="50000"/>
        </a:spcAft>
        <a:buChar char="•"/>
        <a:defRPr sz="2000">
          <a:solidFill>
            <a:schemeClr val="tx1"/>
          </a:solidFill>
          <a:latin typeface="+mn-lt"/>
          <a:cs typeface="+mn-cs"/>
        </a:defRPr>
      </a:lvl7pPr>
      <a:lvl8pPr marL="3875088" indent="-85725" algn="l" rtl="0" fontAlgn="base">
        <a:lnSpc>
          <a:spcPts val="2200"/>
        </a:lnSpc>
        <a:spcBef>
          <a:spcPct val="0"/>
        </a:spcBef>
        <a:spcAft>
          <a:spcPct val="50000"/>
        </a:spcAft>
        <a:buChar char="•"/>
        <a:defRPr sz="2000">
          <a:solidFill>
            <a:schemeClr val="tx1"/>
          </a:solidFill>
          <a:latin typeface="+mn-lt"/>
          <a:cs typeface="+mn-cs"/>
        </a:defRPr>
      </a:lvl8pPr>
      <a:lvl9pPr marL="4332288" indent="-85725" algn="l" rtl="0" fontAlgn="base">
        <a:lnSpc>
          <a:spcPts val="2200"/>
        </a:lnSpc>
        <a:spcBef>
          <a:spcPct val="0"/>
        </a:spcBef>
        <a:spcAft>
          <a:spcPct val="50000"/>
        </a:spcAft>
        <a:buChar char="•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6000" y="368191"/>
            <a:ext cx="8352000" cy="90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 smtClean="0"/>
              <a:t>Headline for content page in CorpoA Regular 30 pt on two lines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6000" y="1422944"/>
            <a:ext cx="8352000" cy="497309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Text slides are in CorpoS Regular, 20 pt.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7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  <a:endParaRPr lang="en-US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436096" y="6552000"/>
            <a:ext cx="765448" cy="306000"/>
          </a:xfrm>
          <a:prstGeom prst="rect">
            <a:avLst/>
          </a:prstGeom>
        </p:spPr>
        <p:txBody>
          <a:bodyPr vert="horz" lIns="0" tIns="7200" rIns="0" bIns="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2E7450D6-D2BA-4BFE-B906-B50DDE0136B9}" type="datetime1">
              <a:rPr lang="en-US" smtClean="0">
                <a:solidFill>
                  <a:prstClr val="black"/>
                </a:solidFill>
                <a:latin typeface="Corpo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5/24/2013</a:t>
            </a:fld>
            <a:endParaRPr lang="en-US">
              <a:solidFill>
                <a:prstClr val="black"/>
              </a:solidFill>
              <a:latin typeface="CorpoS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6001" y="6552000"/>
            <a:ext cx="4896080" cy="306000"/>
          </a:xfrm>
          <a:prstGeom prst="rect">
            <a:avLst/>
          </a:prstGeom>
        </p:spPr>
        <p:txBody>
          <a:bodyPr vert="horz" lIns="0" tIns="7200" rIns="0" bIns="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prstClr val="black"/>
                </a:solidFill>
                <a:latin typeface="CorpoS"/>
              </a:rPr>
              <a:t>Annual Dealer Meeting 2012 | 14.12.2012</a:t>
            </a:r>
            <a:endParaRPr lang="en-US">
              <a:solidFill>
                <a:prstClr val="black"/>
              </a:solidFill>
              <a:latin typeface="CorpoS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230" y="6552000"/>
            <a:ext cx="251048" cy="306000"/>
          </a:xfrm>
          <a:prstGeom prst="rect">
            <a:avLst/>
          </a:prstGeom>
        </p:spPr>
        <p:txBody>
          <a:bodyPr vert="horz" lIns="0" tIns="7200" rIns="0" bIns="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B8BD4307-8E25-4063-B042-91C9BB9E4C20}" type="slidenum">
              <a:rPr lang="en-US" smtClean="0">
                <a:solidFill>
                  <a:prstClr val="black"/>
                </a:solidFill>
                <a:latin typeface="Corpo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en-US">
              <a:solidFill>
                <a:prstClr val="black"/>
              </a:solidFill>
              <a:latin typeface="CorpoS"/>
            </a:endParaRPr>
          </a:p>
        </p:txBody>
      </p:sp>
      <p:cxnSp>
        <p:nvCxnSpPr>
          <p:cNvPr id="8" name="Gerade Verbindung 7"/>
          <p:cNvCxnSpPr/>
          <p:nvPr/>
        </p:nvCxnSpPr>
        <p:spPr>
          <a:xfrm>
            <a:off x="396000" y="6552000"/>
            <a:ext cx="835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2347" y="6652539"/>
            <a:ext cx="938784" cy="108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1308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251" r:id="rId1"/>
    <p:sldLayoutId id="2147487252" r:id="rId2"/>
    <p:sldLayoutId id="2147487253" r:id="rId3"/>
    <p:sldLayoutId id="2147487254" r:id="rId4"/>
    <p:sldLayoutId id="2147487255" r:id="rId5"/>
    <p:sldLayoutId id="2147487256" r:id="rId6"/>
    <p:sldLayoutId id="2147487257" r:id="rId7"/>
    <p:sldLayoutId id="2147487258" r:id="rId8"/>
    <p:sldLayoutId id="2147487259" r:id="rId9"/>
    <p:sldLayoutId id="2147487260" r:id="rId10"/>
    <p:sldLayoutId id="2147487261" r:id="rId11"/>
    <p:sldLayoutId id="2147487262" r:id="rId12"/>
    <p:sldLayoutId id="2147487263" r:id="rId13"/>
    <p:sldLayoutId id="2147487264" r:id="rId1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3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6000" y="368191"/>
            <a:ext cx="8352000" cy="90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 smtClean="0"/>
              <a:t>Headline for content page in CorpoA Regular 30 pt on two lines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6000" y="1422944"/>
            <a:ext cx="8352000" cy="497309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Text slides are in CorpoS Regular, 20 pt.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7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  <a:endParaRPr lang="en-US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436096" y="6552000"/>
            <a:ext cx="765448" cy="306000"/>
          </a:xfrm>
          <a:prstGeom prst="rect">
            <a:avLst/>
          </a:prstGeom>
        </p:spPr>
        <p:txBody>
          <a:bodyPr vert="horz" lIns="0" tIns="7200" rIns="0" bIns="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2E7450D6-D2BA-4BFE-B906-B50DDE0136B9}" type="datetime1">
              <a:rPr lang="en-US" smtClean="0">
                <a:solidFill>
                  <a:prstClr val="black"/>
                </a:solidFill>
                <a:latin typeface="Corpo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5/24/2013</a:t>
            </a:fld>
            <a:endParaRPr lang="en-US">
              <a:solidFill>
                <a:prstClr val="black"/>
              </a:solidFill>
              <a:latin typeface="CorpoS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6001" y="6552000"/>
            <a:ext cx="4896080" cy="306000"/>
          </a:xfrm>
          <a:prstGeom prst="rect">
            <a:avLst/>
          </a:prstGeom>
        </p:spPr>
        <p:txBody>
          <a:bodyPr vert="horz" lIns="0" tIns="7200" rIns="0" bIns="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prstClr val="black"/>
                </a:solidFill>
                <a:latin typeface="CorpoS"/>
              </a:rPr>
              <a:t>Annual Dealer Meeting 2012 | 14.12.2012</a:t>
            </a:r>
            <a:endParaRPr lang="en-US">
              <a:solidFill>
                <a:prstClr val="black"/>
              </a:solidFill>
              <a:latin typeface="CorpoS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230" y="6552000"/>
            <a:ext cx="251048" cy="306000"/>
          </a:xfrm>
          <a:prstGeom prst="rect">
            <a:avLst/>
          </a:prstGeom>
        </p:spPr>
        <p:txBody>
          <a:bodyPr vert="horz" lIns="0" tIns="7200" rIns="0" bIns="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B8BD4307-8E25-4063-B042-91C9BB9E4C20}" type="slidenum">
              <a:rPr lang="en-US" smtClean="0">
                <a:solidFill>
                  <a:prstClr val="black"/>
                </a:solidFill>
                <a:latin typeface="Corpo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en-US">
              <a:solidFill>
                <a:prstClr val="black"/>
              </a:solidFill>
              <a:latin typeface="CorpoS"/>
            </a:endParaRPr>
          </a:p>
        </p:txBody>
      </p:sp>
      <p:cxnSp>
        <p:nvCxnSpPr>
          <p:cNvPr id="8" name="Gerade Verbindung 7"/>
          <p:cNvCxnSpPr/>
          <p:nvPr/>
        </p:nvCxnSpPr>
        <p:spPr>
          <a:xfrm>
            <a:off x="396000" y="6552000"/>
            <a:ext cx="835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2347" y="6652539"/>
            <a:ext cx="938784" cy="108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6813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268" r:id="rId1"/>
    <p:sldLayoutId id="2147487269" r:id="rId2"/>
    <p:sldLayoutId id="2147487270" r:id="rId3"/>
    <p:sldLayoutId id="2147487271" r:id="rId4"/>
    <p:sldLayoutId id="2147487272" r:id="rId5"/>
    <p:sldLayoutId id="2147487273" r:id="rId6"/>
    <p:sldLayoutId id="2147487274" r:id="rId7"/>
    <p:sldLayoutId id="2147487275" r:id="rId8"/>
    <p:sldLayoutId id="2147487276" r:id="rId9"/>
    <p:sldLayoutId id="2147487277" r:id="rId10"/>
    <p:sldLayoutId id="2147487278" r:id="rId11"/>
    <p:sldLayoutId id="2147487279" r:id="rId12"/>
    <p:sldLayoutId id="2147487280" r:id="rId13"/>
    <p:sldLayoutId id="2147487281" r:id="rId14"/>
    <p:sldLayoutId id="2147487283" r:id="rId15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3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6000" y="368191"/>
            <a:ext cx="8352000" cy="90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 smtClean="0"/>
              <a:t>Headline for content page in CorpoA Regular 30 pt on two lines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6000" y="1422944"/>
            <a:ext cx="8352000" cy="497309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Text slides are in CorpoS Regular, 20 pt.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7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  <a:endParaRPr lang="en-US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436096" y="6552000"/>
            <a:ext cx="765448" cy="306000"/>
          </a:xfrm>
          <a:prstGeom prst="rect">
            <a:avLst/>
          </a:prstGeom>
        </p:spPr>
        <p:txBody>
          <a:bodyPr vert="horz" lIns="0" tIns="7200" rIns="0" bIns="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2E7450D6-D2BA-4BFE-B906-B50DDE0136B9}" type="datetime1">
              <a:rPr lang="en-US" smtClean="0">
                <a:solidFill>
                  <a:prstClr val="black"/>
                </a:solidFill>
                <a:latin typeface="Corpo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5/24/2013</a:t>
            </a:fld>
            <a:endParaRPr lang="en-US">
              <a:solidFill>
                <a:prstClr val="black"/>
              </a:solidFill>
              <a:latin typeface="CorpoS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6001" y="6552000"/>
            <a:ext cx="4896080" cy="306000"/>
          </a:xfrm>
          <a:prstGeom prst="rect">
            <a:avLst/>
          </a:prstGeom>
        </p:spPr>
        <p:txBody>
          <a:bodyPr vert="horz" lIns="0" tIns="7200" rIns="0" bIns="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prstClr val="black"/>
                </a:solidFill>
                <a:latin typeface="CorpoS"/>
              </a:rPr>
              <a:t>Annual Dealer Meeting 2012 | 14.12.2012</a:t>
            </a:r>
            <a:endParaRPr lang="en-US">
              <a:solidFill>
                <a:prstClr val="black"/>
              </a:solidFill>
              <a:latin typeface="CorpoS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230" y="6552000"/>
            <a:ext cx="251048" cy="306000"/>
          </a:xfrm>
          <a:prstGeom prst="rect">
            <a:avLst/>
          </a:prstGeom>
        </p:spPr>
        <p:txBody>
          <a:bodyPr vert="horz" lIns="0" tIns="7200" rIns="0" bIns="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B8BD4307-8E25-4063-B042-91C9BB9E4C20}" type="slidenum">
              <a:rPr lang="en-US" smtClean="0">
                <a:solidFill>
                  <a:prstClr val="black"/>
                </a:solidFill>
                <a:latin typeface="Corpo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en-US">
              <a:solidFill>
                <a:prstClr val="black"/>
              </a:solidFill>
              <a:latin typeface="CorpoS"/>
            </a:endParaRPr>
          </a:p>
        </p:txBody>
      </p:sp>
      <p:cxnSp>
        <p:nvCxnSpPr>
          <p:cNvPr id="8" name="Gerade Verbindung 7"/>
          <p:cNvCxnSpPr/>
          <p:nvPr/>
        </p:nvCxnSpPr>
        <p:spPr>
          <a:xfrm>
            <a:off x="396000" y="6552000"/>
            <a:ext cx="835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2347" y="6652539"/>
            <a:ext cx="938784" cy="108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4068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285" r:id="rId1"/>
    <p:sldLayoutId id="2147487286" r:id="rId2"/>
    <p:sldLayoutId id="2147487287" r:id="rId3"/>
    <p:sldLayoutId id="2147487288" r:id="rId4"/>
    <p:sldLayoutId id="2147487289" r:id="rId5"/>
    <p:sldLayoutId id="2147487290" r:id="rId6"/>
    <p:sldLayoutId id="2147487291" r:id="rId7"/>
    <p:sldLayoutId id="2147487292" r:id="rId8"/>
    <p:sldLayoutId id="2147487293" r:id="rId9"/>
    <p:sldLayoutId id="2147487294" r:id="rId10"/>
    <p:sldLayoutId id="2147487295" r:id="rId11"/>
    <p:sldLayoutId id="2147487296" r:id="rId12"/>
    <p:sldLayoutId id="2147487297" r:id="rId13"/>
    <p:sldLayoutId id="2147487298" r:id="rId14"/>
    <p:sldLayoutId id="2147487300" r:id="rId15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3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366713"/>
            <a:ext cx="8348662" cy="900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88" y="1420813"/>
            <a:ext cx="8348662" cy="4970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 </a:t>
            </a:r>
            <a:endParaRPr lang="en-US" smtClean="0"/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434013" y="6548438"/>
            <a:ext cx="766762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20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900" b="0">
                <a:solidFill>
                  <a:srgbClr val="000000"/>
                </a:solidFill>
                <a:latin typeface="CorpoS" pitchFamily="2" charset="0"/>
                <a:cs typeface="Arial" charset="0"/>
              </a:defRPr>
            </a:lvl1pPr>
          </a:lstStyle>
          <a:p>
            <a:pPr>
              <a:defRPr/>
            </a:pPr>
            <a:fld id="{980C8554-B0B3-485B-AE81-C894CD5D17D9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95288" y="6548438"/>
            <a:ext cx="4894262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200" rIns="0" bIns="0" numCol="1" anchor="ctr" anchorCtr="0" compatLnSpc="1">
            <a:prstTxWarp prst="textNoShape">
              <a:avLst/>
            </a:prstTxWarp>
          </a:bodyPr>
          <a:lstStyle>
            <a:lvl1pPr>
              <a:defRPr sz="900" b="0">
                <a:solidFill>
                  <a:srgbClr val="000000"/>
                </a:solidFill>
                <a:latin typeface="CorpoS" pitchFamily="2" charset="0"/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A-Class Financial Package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725" y="6548438"/>
            <a:ext cx="252413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20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900" b="0">
                <a:solidFill>
                  <a:srgbClr val="000000"/>
                </a:solidFill>
                <a:latin typeface="CorpoS" pitchFamily="2" charset="0"/>
                <a:cs typeface="Arial" charset="0"/>
              </a:defRPr>
            </a:lvl1pPr>
          </a:lstStyle>
          <a:p>
            <a:pPr>
              <a:defRPr/>
            </a:pPr>
            <a:fld id="{36E44743-36F7-48D3-ADE8-F374976B6733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  <p:cxnSp>
        <p:nvCxnSpPr>
          <p:cNvPr id="8" name="Gerade Verbindung 7"/>
          <p:cNvCxnSpPr/>
          <p:nvPr/>
        </p:nvCxnSpPr>
        <p:spPr>
          <a:xfrm>
            <a:off x="395288" y="6551613"/>
            <a:ext cx="834866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76" name="Picture 17" descr="C:\Users\morossm\Desktop\Backup\AAP\Marketing\Thailand\Branding\Logo\mb_leasing_l_100k_OL_pos.jp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85" t="19064" r="3532" b="22946"/>
          <a:stretch>
            <a:fillRect/>
          </a:stretch>
        </p:blipFill>
        <p:spPr bwMode="auto">
          <a:xfrm>
            <a:off x="7288213" y="6608763"/>
            <a:ext cx="1500187" cy="16986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34781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302" r:id="rId1"/>
    <p:sldLayoutId id="2147487303" r:id="rId2"/>
    <p:sldLayoutId id="2147487304" r:id="rId3"/>
    <p:sldLayoutId id="2147487305" r:id="rId4"/>
    <p:sldLayoutId id="2147487306" r:id="rId5"/>
    <p:sldLayoutId id="2147487307" r:id="rId6"/>
    <p:sldLayoutId id="2147487308" r:id="rId7"/>
    <p:sldLayoutId id="2147487309" r:id="rId8"/>
    <p:sldLayoutId id="2147487310" r:id="rId9"/>
    <p:sldLayoutId id="2147487311" r:id="rId10"/>
    <p:sldLayoutId id="2147487312" r:id="rId11"/>
    <p:sldLayoutId id="2147487313" r:id="rId12"/>
    <p:sldLayoutId id="2147487314" r:id="rId13"/>
    <p:sldLayoutId id="2147487315" r:id="rId14"/>
    <p:sldLayoutId id="2147487316" r:id="rId15"/>
    <p:sldLayoutId id="2147487317" r:id="rId16"/>
    <p:sldLayoutId id="2147487318" r:id="rId17"/>
    <p:sldLayoutId id="2147487319" r:id="rId18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rgbClr val="000000"/>
          </a:solidFill>
          <a:latin typeface="CorpoA" pitchFamily="2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rgbClr val="000000"/>
          </a:solidFill>
          <a:latin typeface="CorpoA" pitchFamily="2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rgbClr val="000000"/>
          </a:solidFill>
          <a:latin typeface="CorpoA" pitchFamily="2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rgbClr val="000000"/>
          </a:solidFill>
          <a:latin typeface="CorpoA" pitchFamily="2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9pPr>
    </p:titleStyle>
    <p:bodyStyle>
      <a:lvl1pPr marL="342900" indent="-342900" algn="l" rtl="0" eaLnBrk="0" fontAlgn="base" hangingPunct="0">
        <a:lnSpc>
          <a:spcPts val="2600"/>
        </a:lnSpc>
        <a:spcBef>
          <a:spcPct val="0"/>
        </a:spcBef>
        <a:spcAft>
          <a:spcPts val="1000"/>
        </a:spcAft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263525" indent="-261938" algn="l" rtl="0" eaLnBrk="0" fontAlgn="base" hangingPunct="0">
        <a:lnSpc>
          <a:spcPts val="2600"/>
        </a:lnSpc>
        <a:spcBef>
          <a:spcPct val="0"/>
        </a:spcBef>
        <a:spcAft>
          <a:spcPts val="1000"/>
        </a:spcAft>
        <a:buFont typeface="CorpoS" pitchFamily="2" charset="0"/>
        <a:buChar char="•"/>
        <a:defRPr sz="2000">
          <a:solidFill>
            <a:schemeClr val="tx1"/>
          </a:solidFill>
          <a:latin typeface="+mn-lt"/>
          <a:cs typeface="+mn-cs"/>
        </a:defRPr>
      </a:lvl2pPr>
      <a:lvl3pPr marL="538163" indent="-268288" algn="l" rtl="0" eaLnBrk="0" fontAlgn="base" hangingPunct="0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3pPr>
      <a:lvl4pPr marL="539750" indent="-269875" algn="l" rtl="0" eaLnBrk="0" fontAlgn="base" hangingPunct="0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4pPr>
      <a:lvl5pPr marL="539750" indent="-269875" algn="l" rtl="0" eaLnBrk="0" fontAlgn="base" hangingPunct="0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5pPr>
      <a:lvl6pPr marL="2960688" indent="-85725" algn="l" rtl="0" eaLnBrk="1" fontAlgn="base" hangingPunct="1">
        <a:lnSpc>
          <a:spcPts val="2200"/>
        </a:lnSpc>
        <a:spcBef>
          <a:spcPct val="0"/>
        </a:spcBef>
        <a:spcAft>
          <a:spcPct val="50000"/>
        </a:spcAft>
        <a:buChar char="•"/>
        <a:defRPr sz="2000">
          <a:solidFill>
            <a:schemeClr val="tx1"/>
          </a:solidFill>
          <a:latin typeface="+mn-lt"/>
          <a:cs typeface="+mn-cs"/>
        </a:defRPr>
      </a:lvl6pPr>
      <a:lvl7pPr marL="3417888" indent="-85725" algn="l" rtl="0" eaLnBrk="1" fontAlgn="base" hangingPunct="1">
        <a:lnSpc>
          <a:spcPts val="2200"/>
        </a:lnSpc>
        <a:spcBef>
          <a:spcPct val="0"/>
        </a:spcBef>
        <a:spcAft>
          <a:spcPct val="50000"/>
        </a:spcAft>
        <a:buChar char="•"/>
        <a:defRPr sz="2000">
          <a:solidFill>
            <a:schemeClr val="tx1"/>
          </a:solidFill>
          <a:latin typeface="+mn-lt"/>
          <a:cs typeface="+mn-cs"/>
        </a:defRPr>
      </a:lvl7pPr>
      <a:lvl8pPr marL="3875088" indent="-85725" algn="l" rtl="0" eaLnBrk="1" fontAlgn="base" hangingPunct="1">
        <a:lnSpc>
          <a:spcPts val="2200"/>
        </a:lnSpc>
        <a:spcBef>
          <a:spcPct val="0"/>
        </a:spcBef>
        <a:spcAft>
          <a:spcPct val="50000"/>
        </a:spcAft>
        <a:buChar char="•"/>
        <a:defRPr sz="2000">
          <a:solidFill>
            <a:schemeClr val="tx1"/>
          </a:solidFill>
          <a:latin typeface="+mn-lt"/>
          <a:cs typeface="+mn-cs"/>
        </a:defRPr>
      </a:lvl8pPr>
      <a:lvl9pPr marL="4332288" indent="-85725" algn="l" rtl="0" eaLnBrk="1" fontAlgn="base" hangingPunct="1">
        <a:lnSpc>
          <a:spcPts val="2200"/>
        </a:lnSpc>
        <a:spcBef>
          <a:spcPct val="0"/>
        </a:spcBef>
        <a:spcAft>
          <a:spcPct val="50000"/>
        </a:spcAft>
        <a:buChar char="•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366713"/>
            <a:ext cx="8348662" cy="900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88" y="1420813"/>
            <a:ext cx="8348662" cy="4970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masterformate durch Klicken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434013" y="6548438"/>
            <a:ext cx="766762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20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900" b="0">
                <a:latin typeface="CorpoS" pitchFamily="2" charset="0"/>
              </a:defRPr>
            </a:lvl1pPr>
          </a:lstStyle>
          <a:p>
            <a:pPr>
              <a:defRPr/>
            </a:pPr>
            <a:fld id="{7F63D75A-D5B9-4057-AD2F-B55D179F6DF1}" type="datetime1">
              <a:rPr lang="en-US">
                <a:solidFill>
                  <a:srgbClr val="000000"/>
                </a:solidFill>
              </a:rPr>
              <a:pPr>
                <a:defRPr/>
              </a:pPr>
              <a:t>5/24/201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725" y="6548438"/>
            <a:ext cx="252413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20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900" b="0">
                <a:latin typeface="CorpoS" pitchFamily="2" charset="0"/>
              </a:defRPr>
            </a:lvl1pPr>
          </a:lstStyle>
          <a:p>
            <a:pPr>
              <a:defRPr/>
            </a:pPr>
            <a:fld id="{0E64020D-B8C1-4E9B-AEE2-88DF695C93A6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>
              <a:solidFill>
                <a:srgbClr val="000000"/>
              </a:solidFill>
            </a:endParaRPr>
          </a:p>
        </p:txBody>
      </p:sp>
      <p:cxnSp>
        <p:nvCxnSpPr>
          <p:cNvPr id="8" name="Gerade Verbindung 7"/>
          <p:cNvCxnSpPr/>
          <p:nvPr/>
        </p:nvCxnSpPr>
        <p:spPr>
          <a:xfrm>
            <a:off x="395288" y="6551613"/>
            <a:ext cx="834866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1" name="Picture 14" descr="WortMArke_1200dpi_0,3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8913" y="6650038"/>
            <a:ext cx="938212" cy="10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343814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321" r:id="rId1"/>
    <p:sldLayoutId id="2147487322" r:id="rId2"/>
    <p:sldLayoutId id="2147487323" r:id="rId3"/>
    <p:sldLayoutId id="2147487324" r:id="rId4"/>
    <p:sldLayoutId id="2147487325" r:id="rId5"/>
    <p:sldLayoutId id="2147487326" r:id="rId6"/>
    <p:sldLayoutId id="2147487327" r:id="rId7"/>
    <p:sldLayoutId id="2147487328" r:id="rId8"/>
    <p:sldLayoutId id="2147487329" r:id="rId9"/>
    <p:sldLayoutId id="2147487330" r:id="rId10"/>
    <p:sldLayoutId id="2147487331" r:id="rId11"/>
    <p:sldLayoutId id="2147487332" r:id="rId12"/>
    <p:sldLayoutId id="2147487333" r:id="rId13"/>
    <p:sldLayoutId id="2147487334" r:id="rId14"/>
    <p:sldLayoutId id="2147487335" r:id="rId15"/>
    <p:sldLayoutId id="2147487336" r:id="rId16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9pPr>
    </p:titleStyle>
    <p:bodyStyle>
      <a:lvl1pPr marL="342900" indent="-342900" algn="l" rtl="0" eaLnBrk="0" fontAlgn="base" hangingPunct="0">
        <a:lnSpc>
          <a:spcPts val="2600"/>
        </a:lnSpc>
        <a:spcBef>
          <a:spcPct val="0"/>
        </a:spcBef>
        <a:spcAft>
          <a:spcPts val="1000"/>
        </a:spcAft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263525" indent="-261938" algn="l" rtl="0" eaLnBrk="0" fontAlgn="base" hangingPunct="0">
        <a:lnSpc>
          <a:spcPts val="2600"/>
        </a:lnSpc>
        <a:spcBef>
          <a:spcPct val="0"/>
        </a:spcBef>
        <a:spcAft>
          <a:spcPts val="1000"/>
        </a:spcAft>
        <a:buFont typeface="CorpoS" pitchFamily="2" charset="0"/>
        <a:buChar char="•"/>
        <a:defRPr sz="2000">
          <a:solidFill>
            <a:schemeClr val="tx1"/>
          </a:solidFill>
          <a:latin typeface="+mn-lt"/>
          <a:cs typeface="+mn-cs"/>
        </a:defRPr>
      </a:lvl2pPr>
      <a:lvl3pPr marL="538163" indent="-268288" algn="l" rtl="0" eaLnBrk="0" fontAlgn="base" hangingPunct="0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3pPr>
      <a:lvl4pPr marL="539750" indent="-269875" algn="l" rtl="0" eaLnBrk="0" fontAlgn="base" hangingPunct="0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4pPr>
      <a:lvl5pPr marL="539750" indent="-269875" algn="l" rtl="0" eaLnBrk="0" fontAlgn="base" hangingPunct="0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5pPr>
      <a:lvl6pPr marL="2960688" indent="-85725" algn="l" rtl="0" fontAlgn="base">
        <a:lnSpc>
          <a:spcPts val="2200"/>
        </a:lnSpc>
        <a:spcBef>
          <a:spcPct val="0"/>
        </a:spcBef>
        <a:spcAft>
          <a:spcPct val="50000"/>
        </a:spcAft>
        <a:buChar char="•"/>
        <a:defRPr sz="2000">
          <a:solidFill>
            <a:schemeClr val="tx1"/>
          </a:solidFill>
          <a:latin typeface="+mn-lt"/>
          <a:cs typeface="+mn-cs"/>
        </a:defRPr>
      </a:lvl6pPr>
      <a:lvl7pPr marL="3417888" indent="-85725" algn="l" rtl="0" fontAlgn="base">
        <a:lnSpc>
          <a:spcPts val="2200"/>
        </a:lnSpc>
        <a:spcBef>
          <a:spcPct val="0"/>
        </a:spcBef>
        <a:spcAft>
          <a:spcPct val="50000"/>
        </a:spcAft>
        <a:buChar char="•"/>
        <a:defRPr sz="2000">
          <a:solidFill>
            <a:schemeClr val="tx1"/>
          </a:solidFill>
          <a:latin typeface="+mn-lt"/>
          <a:cs typeface="+mn-cs"/>
        </a:defRPr>
      </a:lvl7pPr>
      <a:lvl8pPr marL="3875088" indent="-85725" algn="l" rtl="0" fontAlgn="base">
        <a:lnSpc>
          <a:spcPts val="2200"/>
        </a:lnSpc>
        <a:spcBef>
          <a:spcPct val="0"/>
        </a:spcBef>
        <a:spcAft>
          <a:spcPct val="50000"/>
        </a:spcAft>
        <a:buChar char="•"/>
        <a:defRPr sz="2000">
          <a:solidFill>
            <a:schemeClr val="tx1"/>
          </a:solidFill>
          <a:latin typeface="+mn-lt"/>
          <a:cs typeface="+mn-cs"/>
        </a:defRPr>
      </a:lvl8pPr>
      <a:lvl9pPr marL="4332288" indent="-85725" algn="l" rtl="0" fontAlgn="base">
        <a:lnSpc>
          <a:spcPts val="2200"/>
        </a:lnSpc>
        <a:spcBef>
          <a:spcPct val="0"/>
        </a:spcBef>
        <a:spcAft>
          <a:spcPct val="50000"/>
        </a:spcAft>
        <a:buChar char="•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6000" y="368191"/>
            <a:ext cx="8352000" cy="90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 smtClean="0"/>
              <a:t>Headline for content page in CorpoA Regular 30 pt on two lines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6000" y="1422944"/>
            <a:ext cx="8352000" cy="497309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Text slides are in CorpoS Regular, 20 pt.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7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  <a:endParaRPr lang="en-US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436096" y="6552000"/>
            <a:ext cx="765448" cy="306000"/>
          </a:xfrm>
          <a:prstGeom prst="rect">
            <a:avLst/>
          </a:prstGeom>
        </p:spPr>
        <p:txBody>
          <a:bodyPr vert="horz" lIns="0" tIns="7200" rIns="0" bIns="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2E7450D6-D2BA-4BFE-B906-B50DDE0136B9}" type="datetime1">
              <a:rPr lang="en-US" smtClean="0">
                <a:solidFill>
                  <a:prstClr val="black"/>
                </a:solidFill>
                <a:latin typeface="Corpo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5/24/2013</a:t>
            </a:fld>
            <a:endParaRPr lang="en-US">
              <a:solidFill>
                <a:prstClr val="black"/>
              </a:solidFill>
              <a:latin typeface="CorpoS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6001" y="6552000"/>
            <a:ext cx="4896080" cy="306000"/>
          </a:xfrm>
          <a:prstGeom prst="rect">
            <a:avLst/>
          </a:prstGeom>
        </p:spPr>
        <p:txBody>
          <a:bodyPr vert="horz" lIns="0" tIns="7200" rIns="0" bIns="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prstClr val="black"/>
                </a:solidFill>
                <a:latin typeface="CorpoS"/>
              </a:rPr>
              <a:t>Annual Dealer Meeting 2012 | 14.12.2012</a:t>
            </a:r>
            <a:endParaRPr lang="en-US">
              <a:solidFill>
                <a:prstClr val="black"/>
              </a:solidFill>
              <a:latin typeface="CorpoS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230" y="6552000"/>
            <a:ext cx="251048" cy="306000"/>
          </a:xfrm>
          <a:prstGeom prst="rect">
            <a:avLst/>
          </a:prstGeom>
        </p:spPr>
        <p:txBody>
          <a:bodyPr vert="horz" lIns="0" tIns="7200" rIns="0" bIns="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B8BD4307-8E25-4063-B042-91C9BB9E4C20}" type="slidenum">
              <a:rPr lang="en-US" smtClean="0">
                <a:solidFill>
                  <a:prstClr val="black"/>
                </a:solidFill>
                <a:latin typeface="Corpo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en-US">
              <a:solidFill>
                <a:prstClr val="black"/>
              </a:solidFill>
              <a:latin typeface="CorpoS"/>
            </a:endParaRPr>
          </a:p>
        </p:txBody>
      </p:sp>
      <p:cxnSp>
        <p:nvCxnSpPr>
          <p:cNvPr id="8" name="Gerade Verbindung 7"/>
          <p:cNvCxnSpPr/>
          <p:nvPr/>
        </p:nvCxnSpPr>
        <p:spPr>
          <a:xfrm>
            <a:off x="396000" y="6552000"/>
            <a:ext cx="835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2347" y="6652539"/>
            <a:ext cx="938784" cy="108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036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338" r:id="rId1"/>
    <p:sldLayoutId id="2147487339" r:id="rId2"/>
    <p:sldLayoutId id="2147487340" r:id="rId3"/>
    <p:sldLayoutId id="2147487341" r:id="rId4"/>
    <p:sldLayoutId id="2147487342" r:id="rId5"/>
    <p:sldLayoutId id="2147487343" r:id="rId6"/>
    <p:sldLayoutId id="2147487344" r:id="rId7"/>
    <p:sldLayoutId id="2147487345" r:id="rId8"/>
    <p:sldLayoutId id="2147487346" r:id="rId9"/>
    <p:sldLayoutId id="2147487347" r:id="rId10"/>
    <p:sldLayoutId id="2147487348" r:id="rId11"/>
    <p:sldLayoutId id="2147487349" r:id="rId12"/>
    <p:sldLayoutId id="2147487350" r:id="rId13"/>
    <p:sldLayoutId id="2147487351" r:id="rId14"/>
    <p:sldLayoutId id="2147487352" r:id="rId15"/>
    <p:sldLayoutId id="2147487353" r:id="rId16"/>
    <p:sldLayoutId id="2147487354" r:id="rId17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3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366713"/>
            <a:ext cx="8348662" cy="900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88" y="1420815"/>
            <a:ext cx="8348662" cy="4814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253163" y="6548438"/>
            <a:ext cx="766762" cy="306387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7196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900">
                <a:latin typeface="CorpoS" pitchFamily="2" charset="0"/>
                <a:cs typeface="Arial" pitchFamily="34" charset="0"/>
              </a:defRPr>
            </a:lvl1pPr>
          </a:lstStyle>
          <a:p>
            <a:pPr>
              <a:defRPr/>
            </a:pPr>
            <a:fld id="{57D451AB-9EF5-47EF-9845-590311512B7C}" type="datetime3">
              <a:rPr lang="de-DE">
                <a:solidFill>
                  <a:srgbClr val="000000"/>
                </a:solidFill>
              </a:rPr>
              <a:pPr>
                <a:defRPr/>
              </a:pPr>
              <a:t>24/05/13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356104" y="6551617"/>
            <a:ext cx="396875" cy="306387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7196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1200" b="1"/>
            </a:lvl1pPr>
          </a:lstStyle>
          <a:p>
            <a:pPr>
              <a:defRPr/>
            </a:pPr>
            <a:fld id="{00FC7B78-55CC-408D-8FE0-2ADEC8833F4D}" type="slidenum">
              <a:rPr lang="de-DE">
                <a:solidFill>
                  <a:srgbClr val="000000"/>
                </a:solidFill>
                <a:latin typeface="CorpoS" pitchFamily="2" charset="0"/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  <a:latin typeface="CorpoS" pitchFamily="2" charset="0"/>
            </a:endParaRPr>
          </a:p>
        </p:txBody>
      </p:sp>
      <p:cxnSp>
        <p:nvCxnSpPr>
          <p:cNvPr id="8" name="Gerade Verbindung 7"/>
          <p:cNvCxnSpPr/>
          <p:nvPr/>
        </p:nvCxnSpPr>
        <p:spPr>
          <a:xfrm>
            <a:off x="400053" y="6551613"/>
            <a:ext cx="834866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1" name="Picture 14" descr="WortMArke_1200dpi_0,3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7808914" y="6650038"/>
            <a:ext cx="938212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feld 8"/>
          <p:cNvSpPr txBox="1"/>
          <p:nvPr/>
        </p:nvSpPr>
        <p:spPr>
          <a:xfrm>
            <a:off x="403225" y="6551617"/>
            <a:ext cx="5030788" cy="306387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7196" rIns="0" bIns="0" anchor="ctr"/>
          <a:lstStyle/>
          <a:p>
            <a:pPr>
              <a:defRPr/>
            </a:pPr>
            <a:r>
              <a:rPr lang="en-US" sz="900" dirty="0">
                <a:solidFill>
                  <a:srgbClr val="000000"/>
                </a:solidFill>
                <a:latin typeface="CorpoS" pitchFamily="2" charset="0"/>
              </a:rPr>
              <a:t>Fit4Growth Strategy SEA</a:t>
            </a:r>
            <a:endParaRPr lang="de-DE" sz="900" dirty="0">
              <a:solidFill>
                <a:srgbClr val="000000"/>
              </a:solidFill>
              <a:latin typeface="Corpo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1014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357" r:id="rId1"/>
    <p:sldLayoutId id="2147487358" r:id="rId2"/>
    <p:sldLayoutId id="2147487359" r:id="rId3"/>
    <p:sldLayoutId id="2147487360" r:id="rId4"/>
    <p:sldLayoutId id="2147487361" r:id="rId5"/>
    <p:sldLayoutId id="2147487362" r:id="rId6"/>
    <p:sldLayoutId id="2147487363" r:id="rId7"/>
    <p:sldLayoutId id="2147487364" r:id="rId8"/>
    <p:sldLayoutId id="2147487365" r:id="rId9"/>
    <p:sldLayoutId id="2147487366" r:id="rId10"/>
    <p:sldLayoutId id="2147487367" r:id="rId11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5pPr>
      <a:lvl6pPr marL="456877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6pPr>
      <a:lvl7pPr marL="913755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7pPr>
      <a:lvl8pPr marL="1370632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8pPr>
      <a:lvl9pPr marL="182751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9pPr>
    </p:titleStyle>
    <p:bodyStyle>
      <a:lvl1pPr algn="l" rtl="0" eaLnBrk="0" fontAlgn="base" hangingPunct="0">
        <a:lnSpc>
          <a:spcPts val="2600"/>
        </a:lnSpc>
        <a:spcBef>
          <a:spcPct val="0"/>
        </a:spcBef>
        <a:spcAft>
          <a:spcPts val="1000"/>
        </a:spcAft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263339" indent="-261754" algn="l" rtl="0" eaLnBrk="0" fontAlgn="base" hangingPunct="0">
        <a:lnSpc>
          <a:spcPts val="2600"/>
        </a:lnSpc>
        <a:spcBef>
          <a:spcPct val="0"/>
        </a:spcBef>
        <a:spcAft>
          <a:spcPts val="1000"/>
        </a:spcAft>
        <a:buFont typeface="CorpoS" pitchFamily="2" charset="0"/>
        <a:buChar char="•"/>
        <a:defRPr sz="2000">
          <a:solidFill>
            <a:schemeClr val="tx1"/>
          </a:solidFill>
          <a:latin typeface="+mn-lt"/>
          <a:cs typeface="+mn-cs"/>
        </a:defRPr>
      </a:lvl2pPr>
      <a:lvl3pPr marL="537783" indent="-268099" algn="l" rtl="0" eaLnBrk="0" fontAlgn="base" hangingPunct="0">
        <a:lnSpc>
          <a:spcPts val="1998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3pPr>
      <a:lvl4pPr marL="539369" indent="-269684" algn="l" rtl="0" eaLnBrk="0" fontAlgn="base" hangingPunct="0">
        <a:lnSpc>
          <a:spcPts val="1998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4pPr>
      <a:lvl5pPr marL="539369" indent="-269684" algn="l" rtl="0" eaLnBrk="0" fontAlgn="base" hangingPunct="0">
        <a:lnSpc>
          <a:spcPts val="1998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5pPr>
      <a:lvl6pPr marL="2958599" indent="-85665" algn="l" rtl="0" fontAlgn="base">
        <a:lnSpc>
          <a:spcPts val="2200"/>
        </a:lnSpc>
        <a:spcBef>
          <a:spcPct val="0"/>
        </a:spcBef>
        <a:spcAft>
          <a:spcPct val="50000"/>
        </a:spcAft>
        <a:buChar char="•"/>
        <a:defRPr sz="2000">
          <a:solidFill>
            <a:schemeClr val="tx1"/>
          </a:solidFill>
          <a:latin typeface="+mn-lt"/>
          <a:cs typeface="+mn-cs"/>
        </a:defRPr>
      </a:lvl6pPr>
      <a:lvl7pPr marL="3415476" indent="-85665" algn="l" rtl="0" fontAlgn="base">
        <a:lnSpc>
          <a:spcPts val="2200"/>
        </a:lnSpc>
        <a:spcBef>
          <a:spcPct val="0"/>
        </a:spcBef>
        <a:spcAft>
          <a:spcPct val="50000"/>
        </a:spcAft>
        <a:buChar char="•"/>
        <a:defRPr sz="2000">
          <a:solidFill>
            <a:schemeClr val="tx1"/>
          </a:solidFill>
          <a:latin typeface="+mn-lt"/>
          <a:cs typeface="+mn-cs"/>
        </a:defRPr>
      </a:lvl7pPr>
      <a:lvl8pPr marL="3872354" indent="-85665" algn="l" rtl="0" fontAlgn="base">
        <a:lnSpc>
          <a:spcPts val="2200"/>
        </a:lnSpc>
        <a:spcBef>
          <a:spcPct val="0"/>
        </a:spcBef>
        <a:spcAft>
          <a:spcPct val="50000"/>
        </a:spcAft>
        <a:buChar char="•"/>
        <a:defRPr sz="2000">
          <a:solidFill>
            <a:schemeClr val="tx1"/>
          </a:solidFill>
          <a:latin typeface="+mn-lt"/>
          <a:cs typeface="+mn-cs"/>
        </a:defRPr>
      </a:lvl8pPr>
      <a:lvl9pPr marL="4329231" indent="-85665" algn="l" rtl="0" fontAlgn="base">
        <a:lnSpc>
          <a:spcPts val="2200"/>
        </a:lnSpc>
        <a:spcBef>
          <a:spcPct val="0"/>
        </a:spcBef>
        <a:spcAft>
          <a:spcPct val="50000"/>
        </a:spcAft>
        <a:buChar char="•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37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77" algn="l" defTabSz="9137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55" algn="l" defTabSz="9137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632" algn="l" defTabSz="9137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510" algn="l" defTabSz="9137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386" algn="l" defTabSz="9137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264" algn="l" defTabSz="9137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142" algn="l" defTabSz="9137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018" algn="l" defTabSz="9137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366713"/>
            <a:ext cx="8348662" cy="900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Titelmasterformat durch Klicken bearbeiten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88" y="1420813"/>
            <a:ext cx="8348662" cy="4970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Textmasterformate durch Klicken bearbeiten</a:t>
            </a:r>
          </a:p>
          <a:p>
            <a:pPr lvl="1"/>
            <a:r>
              <a:rPr lang="en-US" altLang="en-US" smtClean="0"/>
              <a:t>Zweite Ebene</a:t>
            </a:r>
          </a:p>
          <a:p>
            <a:pPr lvl="2"/>
            <a:r>
              <a:rPr lang="en-US" altLang="en-US" smtClean="0"/>
              <a:t>Dritte Ebene</a:t>
            </a:r>
          </a:p>
          <a:p>
            <a:pPr lvl="3"/>
            <a:r>
              <a:rPr lang="en-US" altLang="en-US" smtClean="0"/>
              <a:t>Vierte Ebene</a:t>
            </a:r>
          </a:p>
          <a:p>
            <a:pPr lvl="4"/>
            <a:r>
              <a:rPr lang="en-US" altLang="en-US" smtClean="0"/>
              <a:t>Fünfte Ebene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725" y="6548438"/>
            <a:ext cx="252413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20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900"/>
            </a:lvl1pPr>
          </a:lstStyle>
          <a:p>
            <a:fld id="{E4B18978-6217-4AF1-AA4F-EE75ABF621D9}" type="slidenum">
              <a:rPr lang="en-US" altLang="en-US" smtClean="0">
                <a:solidFill>
                  <a:srgbClr val="000000"/>
                </a:solidFill>
                <a:latin typeface="CorpoS" pitchFamily="2" charset="0"/>
              </a:rPr>
              <a:pPr/>
              <a:t>‹Nr.›</a:t>
            </a:fld>
            <a:endParaRPr lang="en-US" altLang="en-US" smtClean="0">
              <a:solidFill>
                <a:srgbClr val="000000"/>
              </a:solidFill>
              <a:latin typeface="CorpoS" pitchFamily="2" charset="0"/>
            </a:endParaRPr>
          </a:p>
        </p:txBody>
      </p:sp>
      <p:cxnSp>
        <p:nvCxnSpPr>
          <p:cNvPr id="8" name="Gerade Verbindung 7"/>
          <p:cNvCxnSpPr/>
          <p:nvPr/>
        </p:nvCxnSpPr>
        <p:spPr>
          <a:xfrm>
            <a:off x="395288" y="6551613"/>
            <a:ext cx="834866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198" name="Picture 6" descr="WortMArke_1200dpi_0,3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8913" y="6650038"/>
            <a:ext cx="938212" cy="107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8921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369" r:id="rId1"/>
    <p:sldLayoutId id="2147487370" r:id="rId2"/>
    <p:sldLayoutId id="2147487371" r:id="rId3"/>
    <p:sldLayoutId id="2147487372" r:id="rId4"/>
    <p:sldLayoutId id="2147487373" r:id="rId5"/>
    <p:sldLayoutId id="2147487374" r:id="rId6"/>
    <p:sldLayoutId id="2147487375" r:id="rId7"/>
    <p:sldLayoutId id="2147487376" r:id="rId8"/>
    <p:sldLayoutId id="2147487377" r:id="rId9"/>
    <p:sldLayoutId id="2147487378" r:id="rId10"/>
    <p:sldLayoutId id="2147487379" r:id="rId11"/>
    <p:sldLayoutId id="2147487380" r:id="rId12"/>
    <p:sldLayoutId id="2147487381" r:id="rId13"/>
  </p:sldLayoutIdLst>
  <p:txStyles>
    <p:titleStyle>
      <a:lvl1pPr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9pPr>
    </p:titleStyle>
    <p:bodyStyle>
      <a:lvl1pPr algn="l" rtl="0" fontAlgn="base">
        <a:lnSpc>
          <a:spcPts val="2600"/>
        </a:lnSpc>
        <a:spcBef>
          <a:spcPct val="0"/>
        </a:spcBef>
        <a:spcAft>
          <a:spcPts val="1000"/>
        </a:spcAft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263525" indent="-261938" algn="l" rtl="0" fontAlgn="base">
        <a:lnSpc>
          <a:spcPts val="2600"/>
        </a:lnSpc>
        <a:spcBef>
          <a:spcPct val="0"/>
        </a:spcBef>
        <a:spcAft>
          <a:spcPts val="1000"/>
        </a:spcAft>
        <a:buFont typeface="CorpoS" pitchFamily="2" charset="0"/>
        <a:buChar char="•"/>
        <a:defRPr sz="2000">
          <a:solidFill>
            <a:schemeClr val="tx1"/>
          </a:solidFill>
          <a:latin typeface="+mn-lt"/>
          <a:cs typeface="+mn-cs"/>
        </a:defRPr>
      </a:lvl2pPr>
      <a:lvl3pPr marL="538163" indent="-268288" algn="l" rtl="0" fontAlgn="base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3pPr>
      <a:lvl4pPr marL="539750" indent="-269875" algn="l" rtl="0" fontAlgn="base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4pPr>
      <a:lvl5pPr marL="539750" indent="-269875" algn="l" rtl="0" fontAlgn="base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5pPr>
      <a:lvl6pPr marL="996950" indent="-269875" algn="l" rtl="0" fontAlgn="base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6pPr>
      <a:lvl7pPr marL="1454150" indent="-269875" algn="l" rtl="0" fontAlgn="base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7pPr>
      <a:lvl8pPr marL="1911350" indent="-269875" algn="l" rtl="0" fontAlgn="base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8pPr>
      <a:lvl9pPr marL="2368550" indent="-269875" algn="l" rtl="0" fontAlgn="base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366713"/>
            <a:ext cx="8348662" cy="900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itelmasterformat durch Klicken bearbeiten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88" y="1420813"/>
            <a:ext cx="8348662" cy="4970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masterformate durch Klicken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434013" y="6548438"/>
            <a:ext cx="766762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20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900">
                <a:latin typeface="+mn-lt"/>
              </a:defRPr>
            </a:lvl1pPr>
          </a:lstStyle>
          <a:p>
            <a:pPr>
              <a:defRPr/>
            </a:pPr>
            <a:fld id="{4DE332E5-9C2A-46EF-BFB1-017328065D21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95288" y="6548438"/>
            <a:ext cx="4894262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200" rIns="0" bIns="0" numCol="1" anchor="ctr" anchorCtr="0" compatLnSpc="1">
            <a:prstTxWarp prst="textNoShape">
              <a:avLst/>
            </a:prstTxWarp>
          </a:bodyPr>
          <a:lstStyle>
            <a:lvl1pPr>
              <a:defRPr sz="900">
                <a:latin typeface="CorpoS" pitchFamily="2" charset="0"/>
              </a:defRPr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725" y="6548438"/>
            <a:ext cx="252413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20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900">
                <a:latin typeface="+mn-lt"/>
              </a:defRPr>
            </a:lvl1pPr>
          </a:lstStyle>
          <a:p>
            <a:pPr>
              <a:defRPr/>
            </a:pPr>
            <a:fld id="{1F6C9211-9E88-4E24-9D8A-62E3588E9203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  <p:cxnSp>
        <p:nvCxnSpPr>
          <p:cNvPr id="8" name="Gerade Verbindung 7"/>
          <p:cNvCxnSpPr/>
          <p:nvPr/>
        </p:nvCxnSpPr>
        <p:spPr>
          <a:xfrm>
            <a:off x="395288" y="6551613"/>
            <a:ext cx="834866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6" name="Picture 9" descr="02_MB_Powerpoint_Stempel_Draft_101111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2763" y="71438"/>
            <a:ext cx="187801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7" name="Picture 12" descr="WortMArke_1200dpi_0,3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8913" y="6650038"/>
            <a:ext cx="938212" cy="10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7191" r:id="rId1"/>
    <p:sldLayoutId id="2147487140" r:id="rId2"/>
    <p:sldLayoutId id="2147487141" r:id="rId3"/>
    <p:sldLayoutId id="2147487142" r:id="rId4"/>
    <p:sldLayoutId id="2147487143" r:id="rId5"/>
    <p:sldLayoutId id="2147487144" r:id="rId6"/>
    <p:sldLayoutId id="2147487145" r:id="rId7"/>
    <p:sldLayoutId id="2147487146" r:id="rId8"/>
    <p:sldLayoutId id="2147487147" r:id="rId9"/>
    <p:sldLayoutId id="2147487148" r:id="rId10"/>
    <p:sldLayoutId id="2147487149" r:id="rId11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9pPr>
    </p:titleStyle>
    <p:bodyStyle>
      <a:lvl1pPr marL="342900" indent="-342900" algn="l" rtl="0" eaLnBrk="0" fontAlgn="base" hangingPunct="0">
        <a:lnSpc>
          <a:spcPts val="2600"/>
        </a:lnSpc>
        <a:spcBef>
          <a:spcPct val="0"/>
        </a:spcBef>
        <a:spcAft>
          <a:spcPts val="1000"/>
        </a:spcAft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263525" indent="-261938" algn="l" rtl="0" eaLnBrk="0" fontAlgn="base" hangingPunct="0">
        <a:lnSpc>
          <a:spcPts val="2600"/>
        </a:lnSpc>
        <a:spcBef>
          <a:spcPct val="0"/>
        </a:spcBef>
        <a:spcAft>
          <a:spcPts val="1000"/>
        </a:spcAft>
        <a:buFont typeface="CorpoS" pitchFamily="2" charset="0"/>
        <a:buChar char="•"/>
        <a:defRPr sz="2000">
          <a:solidFill>
            <a:schemeClr val="tx1"/>
          </a:solidFill>
          <a:latin typeface="+mn-lt"/>
          <a:cs typeface="+mn-cs"/>
        </a:defRPr>
      </a:lvl2pPr>
      <a:lvl3pPr marL="538163" indent="-268288" algn="l" rtl="0" eaLnBrk="0" fontAlgn="base" hangingPunct="0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3pPr>
      <a:lvl4pPr marL="539750" indent="-269875" algn="l" rtl="0" eaLnBrk="0" fontAlgn="base" hangingPunct="0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4pPr>
      <a:lvl5pPr marL="539750" indent="-269875" algn="l" rtl="0" eaLnBrk="0" fontAlgn="base" hangingPunct="0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5pPr>
      <a:lvl6pPr marL="996950" indent="-269875" algn="l" rtl="0" fontAlgn="base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6pPr>
      <a:lvl7pPr marL="1454150" indent="-269875" algn="l" rtl="0" fontAlgn="base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7pPr>
      <a:lvl8pPr marL="1911350" indent="-269875" algn="l" rtl="0" fontAlgn="base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8pPr>
      <a:lvl9pPr marL="2368550" indent="-269875" algn="l" rtl="0" fontAlgn="base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366713"/>
            <a:ext cx="8348662" cy="900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itelmasterformat durch Klicken bearbeiten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88" y="1420813"/>
            <a:ext cx="8348662" cy="4970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masterformate durch Klicken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434013" y="6548438"/>
            <a:ext cx="766762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20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900">
                <a:latin typeface="+mn-lt"/>
              </a:defRPr>
            </a:lvl1pPr>
          </a:lstStyle>
          <a:p>
            <a:pPr>
              <a:defRPr/>
            </a:pPr>
            <a:fld id="{752BBE30-A0BF-4C35-B3E3-50EAA1E8552F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95288" y="6548438"/>
            <a:ext cx="4894262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200" rIns="0" bIns="0" numCol="1" anchor="ctr" anchorCtr="0" compatLnSpc="1">
            <a:prstTxWarp prst="textNoShape">
              <a:avLst/>
            </a:prstTxWarp>
          </a:bodyPr>
          <a:lstStyle>
            <a:lvl1pPr>
              <a:defRPr sz="900">
                <a:latin typeface="CorpoS" pitchFamily="2" charset="0"/>
              </a:defRPr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725" y="6548438"/>
            <a:ext cx="252413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20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900">
                <a:latin typeface="+mn-lt"/>
              </a:defRPr>
            </a:lvl1pPr>
          </a:lstStyle>
          <a:p>
            <a:pPr>
              <a:defRPr/>
            </a:pPr>
            <a:fld id="{B6F7602D-7484-465A-A258-F6F8F01B6E3E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  <p:cxnSp>
        <p:nvCxnSpPr>
          <p:cNvPr id="8" name="Gerade Verbindung 7"/>
          <p:cNvCxnSpPr/>
          <p:nvPr/>
        </p:nvCxnSpPr>
        <p:spPr>
          <a:xfrm>
            <a:off x="395288" y="6551613"/>
            <a:ext cx="834866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80" name="Picture 11" descr="WortMArke_1200dpi_0,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8913" y="6650038"/>
            <a:ext cx="938212" cy="10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1" name="Picture 12" descr="05_MB_Powerpoint_Stempel_Confidential_241111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2763" y="71438"/>
            <a:ext cx="187801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7192" r:id="rId1"/>
    <p:sldLayoutId id="2147487150" r:id="rId2"/>
    <p:sldLayoutId id="2147487151" r:id="rId3"/>
    <p:sldLayoutId id="2147487152" r:id="rId4"/>
    <p:sldLayoutId id="2147487153" r:id="rId5"/>
    <p:sldLayoutId id="2147487154" r:id="rId6"/>
    <p:sldLayoutId id="2147487155" r:id="rId7"/>
    <p:sldLayoutId id="2147487156" r:id="rId8"/>
    <p:sldLayoutId id="2147487157" r:id="rId9"/>
    <p:sldLayoutId id="2147487158" r:id="rId10"/>
    <p:sldLayoutId id="2147487159" r:id="rId11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9pPr>
    </p:titleStyle>
    <p:bodyStyle>
      <a:lvl1pPr marL="342900" indent="-342900" algn="l" rtl="0" eaLnBrk="0" fontAlgn="base" hangingPunct="0">
        <a:lnSpc>
          <a:spcPts val="2600"/>
        </a:lnSpc>
        <a:spcBef>
          <a:spcPct val="0"/>
        </a:spcBef>
        <a:spcAft>
          <a:spcPts val="1000"/>
        </a:spcAft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263525" indent="-261938" algn="l" rtl="0" eaLnBrk="0" fontAlgn="base" hangingPunct="0">
        <a:lnSpc>
          <a:spcPts val="2600"/>
        </a:lnSpc>
        <a:spcBef>
          <a:spcPct val="0"/>
        </a:spcBef>
        <a:spcAft>
          <a:spcPts val="1000"/>
        </a:spcAft>
        <a:buFont typeface="CorpoS" pitchFamily="2" charset="0"/>
        <a:buChar char="•"/>
        <a:defRPr sz="2000">
          <a:solidFill>
            <a:schemeClr val="tx1"/>
          </a:solidFill>
          <a:latin typeface="+mn-lt"/>
          <a:cs typeface="+mn-cs"/>
        </a:defRPr>
      </a:lvl2pPr>
      <a:lvl3pPr marL="538163" indent="-268288" algn="l" rtl="0" eaLnBrk="0" fontAlgn="base" hangingPunct="0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3pPr>
      <a:lvl4pPr marL="539750" indent="-269875" algn="l" rtl="0" eaLnBrk="0" fontAlgn="base" hangingPunct="0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4pPr>
      <a:lvl5pPr marL="539750" indent="-269875" algn="l" rtl="0" eaLnBrk="0" fontAlgn="base" hangingPunct="0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5pPr>
      <a:lvl6pPr marL="996950" indent="-269875" algn="l" rtl="0" fontAlgn="base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6pPr>
      <a:lvl7pPr marL="1454150" indent="-269875" algn="l" rtl="0" fontAlgn="base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7pPr>
      <a:lvl8pPr marL="1911350" indent="-269875" algn="l" rtl="0" fontAlgn="base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8pPr>
      <a:lvl9pPr marL="2368550" indent="-269875" algn="l" rtl="0" fontAlgn="base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366713"/>
            <a:ext cx="8348662" cy="900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itelmasterformat durch Klicken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88" y="1420813"/>
            <a:ext cx="8348662" cy="4970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masterformate durch Klicken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434013" y="6548438"/>
            <a:ext cx="766762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20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900">
                <a:latin typeface="+mn-lt"/>
              </a:defRPr>
            </a:lvl1pPr>
          </a:lstStyle>
          <a:p>
            <a:pPr>
              <a:defRPr/>
            </a:pPr>
            <a:fld id="{7FBEDF4E-DF99-435E-897C-E17F3132868E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95288" y="6548438"/>
            <a:ext cx="4894262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200" rIns="0" bIns="0" numCol="1" anchor="ctr" anchorCtr="0" compatLnSpc="1">
            <a:prstTxWarp prst="textNoShape">
              <a:avLst/>
            </a:prstTxWarp>
          </a:bodyPr>
          <a:lstStyle>
            <a:lvl1pPr>
              <a:defRPr sz="900">
                <a:latin typeface="CorpoS" pitchFamily="2" charset="0"/>
              </a:defRPr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725" y="6548438"/>
            <a:ext cx="252413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20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900">
                <a:latin typeface="+mn-lt"/>
              </a:defRPr>
            </a:lvl1pPr>
          </a:lstStyle>
          <a:p>
            <a:pPr>
              <a:defRPr/>
            </a:pPr>
            <a:fld id="{07F30E60-6FE4-415F-8B4E-BEA085105C03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  <p:cxnSp>
        <p:nvCxnSpPr>
          <p:cNvPr id="8" name="Gerade Verbindung 7"/>
          <p:cNvCxnSpPr/>
          <p:nvPr/>
        </p:nvCxnSpPr>
        <p:spPr>
          <a:xfrm>
            <a:off x="395288" y="6551613"/>
            <a:ext cx="834866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04" name="Picture 11" descr="WortMArke_1200dpi_0,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8913" y="6650038"/>
            <a:ext cx="938212" cy="10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5" name="Picture 12" descr="03_MB_Powerpoint_Stempel_Secret_101111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2763" y="71438"/>
            <a:ext cx="187801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7193" r:id="rId1"/>
    <p:sldLayoutId id="2147487160" r:id="rId2"/>
    <p:sldLayoutId id="2147487161" r:id="rId3"/>
    <p:sldLayoutId id="2147487162" r:id="rId4"/>
    <p:sldLayoutId id="2147487163" r:id="rId5"/>
    <p:sldLayoutId id="2147487164" r:id="rId6"/>
    <p:sldLayoutId id="2147487165" r:id="rId7"/>
    <p:sldLayoutId id="2147487166" r:id="rId8"/>
    <p:sldLayoutId id="2147487167" r:id="rId9"/>
    <p:sldLayoutId id="2147487168" r:id="rId10"/>
    <p:sldLayoutId id="2147487169" r:id="rId11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9pPr>
    </p:titleStyle>
    <p:bodyStyle>
      <a:lvl1pPr marL="342900" indent="-342900" algn="l" rtl="0" eaLnBrk="0" fontAlgn="base" hangingPunct="0">
        <a:lnSpc>
          <a:spcPts val="2600"/>
        </a:lnSpc>
        <a:spcBef>
          <a:spcPct val="0"/>
        </a:spcBef>
        <a:spcAft>
          <a:spcPts val="1000"/>
        </a:spcAft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263525" indent="-261938" algn="l" rtl="0" eaLnBrk="0" fontAlgn="base" hangingPunct="0">
        <a:lnSpc>
          <a:spcPts val="2600"/>
        </a:lnSpc>
        <a:spcBef>
          <a:spcPct val="0"/>
        </a:spcBef>
        <a:spcAft>
          <a:spcPts val="1000"/>
        </a:spcAft>
        <a:buFont typeface="CorpoS" pitchFamily="2" charset="0"/>
        <a:buChar char="•"/>
        <a:defRPr sz="2000">
          <a:solidFill>
            <a:schemeClr val="tx1"/>
          </a:solidFill>
          <a:latin typeface="+mn-lt"/>
          <a:cs typeface="+mn-cs"/>
        </a:defRPr>
      </a:lvl2pPr>
      <a:lvl3pPr marL="538163" indent="-268288" algn="l" rtl="0" eaLnBrk="0" fontAlgn="base" hangingPunct="0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3pPr>
      <a:lvl4pPr marL="539750" indent="-269875" algn="l" rtl="0" eaLnBrk="0" fontAlgn="base" hangingPunct="0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4pPr>
      <a:lvl5pPr marL="539750" indent="-269875" algn="l" rtl="0" eaLnBrk="0" fontAlgn="base" hangingPunct="0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5pPr>
      <a:lvl6pPr marL="996950" indent="-269875" algn="l" rtl="0" fontAlgn="base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6pPr>
      <a:lvl7pPr marL="1454150" indent="-269875" algn="l" rtl="0" fontAlgn="base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7pPr>
      <a:lvl8pPr marL="1911350" indent="-269875" algn="l" rtl="0" fontAlgn="base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8pPr>
      <a:lvl9pPr marL="2368550" indent="-269875" algn="l" rtl="0" fontAlgn="base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366713"/>
            <a:ext cx="8348662" cy="900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itelmasterformat durch Klicken bearbeiten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88" y="1420813"/>
            <a:ext cx="8348662" cy="4970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masterformate durch Klicken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434013" y="6548438"/>
            <a:ext cx="766762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20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900">
                <a:latin typeface="+mn-lt"/>
              </a:defRPr>
            </a:lvl1pPr>
          </a:lstStyle>
          <a:p>
            <a:pPr>
              <a:defRPr/>
            </a:pPr>
            <a:fld id="{E2BFEE22-79FE-485D-BD41-98B0D04A496B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95288" y="6548438"/>
            <a:ext cx="4894262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200" rIns="0" bIns="0" numCol="1" anchor="ctr" anchorCtr="0" compatLnSpc="1">
            <a:prstTxWarp prst="textNoShape">
              <a:avLst/>
            </a:prstTxWarp>
          </a:bodyPr>
          <a:lstStyle>
            <a:lvl1pPr>
              <a:defRPr sz="900">
                <a:latin typeface="CorpoS" pitchFamily="2" charset="0"/>
              </a:defRPr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725" y="6548438"/>
            <a:ext cx="252413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20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900">
                <a:latin typeface="+mn-lt"/>
              </a:defRPr>
            </a:lvl1pPr>
          </a:lstStyle>
          <a:p>
            <a:pPr>
              <a:defRPr/>
            </a:pPr>
            <a:fld id="{CA9F17B7-C0C5-4D3B-877A-5760A5596A6F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  <p:cxnSp>
        <p:nvCxnSpPr>
          <p:cNvPr id="8" name="Gerade Verbindung 7"/>
          <p:cNvCxnSpPr/>
          <p:nvPr/>
        </p:nvCxnSpPr>
        <p:spPr>
          <a:xfrm>
            <a:off x="395288" y="6551613"/>
            <a:ext cx="834866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28" name="Picture 9" descr="02_MB_Powerpoint_Stempel_Draft_101111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1725" y="71438"/>
            <a:ext cx="1878013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9" name="Picture 12" descr="WortMArke_1200dpi_0,3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8913" y="6650038"/>
            <a:ext cx="938212" cy="10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30" name="Picture 14" descr="05_MB_Powerpoint_Stempel_Confidential_241111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2763" y="71438"/>
            <a:ext cx="187801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7194" r:id="rId1"/>
    <p:sldLayoutId id="2147487170" r:id="rId2"/>
    <p:sldLayoutId id="2147487171" r:id="rId3"/>
    <p:sldLayoutId id="2147487172" r:id="rId4"/>
    <p:sldLayoutId id="2147487173" r:id="rId5"/>
    <p:sldLayoutId id="2147487174" r:id="rId6"/>
    <p:sldLayoutId id="2147487175" r:id="rId7"/>
    <p:sldLayoutId id="2147487176" r:id="rId8"/>
    <p:sldLayoutId id="2147487177" r:id="rId9"/>
    <p:sldLayoutId id="2147487178" r:id="rId10"/>
    <p:sldLayoutId id="2147487179" r:id="rId11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9pPr>
    </p:titleStyle>
    <p:bodyStyle>
      <a:lvl1pPr marL="342900" indent="-342900" algn="l" rtl="0" eaLnBrk="0" fontAlgn="base" hangingPunct="0">
        <a:lnSpc>
          <a:spcPts val="2600"/>
        </a:lnSpc>
        <a:spcBef>
          <a:spcPct val="0"/>
        </a:spcBef>
        <a:spcAft>
          <a:spcPts val="1000"/>
        </a:spcAft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263525" indent="-261938" algn="l" rtl="0" eaLnBrk="0" fontAlgn="base" hangingPunct="0">
        <a:lnSpc>
          <a:spcPts val="2600"/>
        </a:lnSpc>
        <a:spcBef>
          <a:spcPct val="0"/>
        </a:spcBef>
        <a:spcAft>
          <a:spcPts val="1000"/>
        </a:spcAft>
        <a:buFont typeface="CorpoS" pitchFamily="2" charset="0"/>
        <a:buChar char="•"/>
        <a:defRPr sz="2000">
          <a:solidFill>
            <a:schemeClr val="tx1"/>
          </a:solidFill>
          <a:latin typeface="+mn-lt"/>
          <a:cs typeface="+mn-cs"/>
        </a:defRPr>
      </a:lvl2pPr>
      <a:lvl3pPr marL="538163" indent="-268288" algn="l" rtl="0" eaLnBrk="0" fontAlgn="base" hangingPunct="0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3pPr>
      <a:lvl4pPr marL="539750" indent="-269875" algn="l" rtl="0" eaLnBrk="0" fontAlgn="base" hangingPunct="0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4pPr>
      <a:lvl5pPr marL="539750" indent="-269875" algn="l" rtl="0" eaLnBrk="0" fontAlgn="base" hangingPunct="0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5pPr>
      <a:lvl6pPr marL="996950" indent="-269875" algn="l" rtl="0" fontAlgn="base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6pPr>
      <a:lvl7pPr marL="1454150" indent="-269875" algn="l" rtl="0" fontAlgn="base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7pPr>
      <a:lvl8pPr marL="1911350" indent="-269875" algn="l" rtl="0" fontAlgn="base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8pPr>
      <a:lvl9pPr marL="2368550" indent="-269875" algn="l" rtl="0" fontAlgn="base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366713"/>
            <a:ext cx="8348662" cy="900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itelmasterformat durch Klicken bearbeiten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88" y="1420813"/>
            <a:ext cx="8348662" cy="4970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masterformate durch Klicken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434013" y="6548438"/>
            <a:ext cx="766762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20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900">
                <a:latin typeface="+mn-lt"/>
              </a:defRPr>
            </a:lvl1pPr>
          </a:lstStyle>
          <a:p>
            <a:pPr>
              <a:defRPr/>
            </a:pPr>
            <a:fld id="{C16B15F8-B2F2-464A-AB08-1C395E1B55F0}" type="datetime1">
              <a:rPr lang="en-US"/>
              <a:pPr>
                <a:defRPr/>
              </a:pPr>
              <a:t>5/24/2013</a:t>
            </a:fld>
            <a:endParaRPr lang="en-U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95288" y="6548438"/>
            <a:ext cx="4894262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200" rIns="0" bIns="0" numCol="1" anchor="ctr" anchorCtr="0" compatLnSpc="1">
            <a:prstTxWarp prst="textNoShape">
              <a:avLst/>
            </a:prstTxWarp>
          </a:bodyPr>
          <a:lstStyle>
            <a:lvl1pPr>
              <a:defRPr sz="900">
                <a:latin typeface="CorpoS" pitchFamily="2" charset="0"/>
              </a:defRPr>
            </a:lvl1pPr>
          </a:lstStyle>
          <a:p>
            <a:pPr>
              <a:defRPr/>
            </a:pPr>
            <a:r>
              <a:rPr lang="en-US"/>
              <a:t>MAD-Presentation | Mercedes-Benz Thailand | Sep 5th, 2012MAD | June 26th, 2012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725" y="6548438"/>
            <a:ext cx="252413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20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900">
                <a:latin typeface="+mn-lt"/>
              </a:defRPr>
            </a:lvl1pPr>
          </a:lstStyle>
          <a:p>
            <a:pPr>
              <a:defRPr/>
            </a:pPr>
            <a:fld id="{4B0E4794-D0BA-4AAB-A128-9BCE6381543D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  <p:cxnSp>
        <p:nvCxnSpPr>
          <p:cNvPr id="8" name="Gerade Verbindung 7"/>
          <p:cNvCxnSpPr/>
          <p:nvPr/>
        </p:nvCxnSpPr>
        <p:spPr>
          <a:xfrm>
            <a:off x="395288" y="6551613"/>
            <a:ext cx="834866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52" name="Picture 9" descr="02_MB_Powerpoint_Stempel_Draft_101111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1725" y="71438"/>
            <a:ext cx="1878013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53" name="Picture 12" descr="WortMArke_1200dpi_0,3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8913" y="6650038"/>
            <a:ext cx="938212" cy="10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54" name="Picture 13" descr="03_MB_Powerpoint_Stempel_Secret_101111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2763" y="71438"/>
            <a:ext cx="187801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7195" r:id="rId1"/>
    <p:sldLayoutId id="2147487180" r:id="rId2"/>
    <p:sldLayoutId id="2147487181" r:id="rId3"/>
    <p:sldLayoutId id="2147487182" r:id="rId4"/>
    <p:sldLayoutId id="2147487183" r:id="rId5"/>
    <p:sldLayoutId id="2147487184" r:id="rId6"/>
    <p:sldLayoutId id="2147487185" r:id="rId7"/>
    <p:sldLayoutId id="2147487186" r:id="rId8"/>
    <p:sldLayoutId id="2147487187" r:id="rId9"/>
    <p:sldLayoutId id="2147487188" r:id="rId10"/>
    <p:sldLayoutId id="2147487189" r:id="rId11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9pPr>
    </p:titleStyle>
    <p:bodyStyle>
      <a:lvl1pPr marL="342900" indent="-342900" algn="l" rtl="0" eaLnBrk="0" fontAlgn="base" hangingPunct="0">
        <a:lnSpc>
          <a:spcPts val="2600"/>
        </a:lnSpc>
        <a:spcBef>
          <a:spcPct val="0"/>
        </a:spcBef>
        <a:spcAft>
          <a:spcPts val="1000"/>
        </a:spcAft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263525" indent="-261938" algn="l" rtl="0" eaLnBrk="0" fontAlgn="base" hangingPunct="0">
        <a:lnSpc>
          <a:spcPts val="2600"/>
        </a:lnSpc>
        <a:spcBef>
          <a:spcPct val="0"/>
        </a:spcBef>
        <a:spcAft>
          <a:spcPts val="1000"/>
        </a:spcAft>
        <a:buFont typeface="CorpoS" pitchFamily="2" charset="0"/>
        <a:buChar char="•"/>
        <a:defRPr sz="2000">
          <a:solidFill>
            <a:schemeClr val="tx1"/>
          </a:solidFill>
          <a:latin typeface="+mn-lt"/>
          <a:cs typeface="+mn-cs"/>
        </a:defRPr>
      </a:lvl2pPr>
      <a:lvl3pPr marL="538163" indent="-268288" algn="l" rtl="0" eaLnBrk="0" fontAlgn="base" hangingPunct="0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3pPr>
      <a:lvl4pPr marL="539750" indent="-269875" algn="l" rtl="0" eaLnBrk="0" fontAlgn="base" hangingPunct="0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4pPr>
      <a:lvl5pPr marL="539750" indent="-269875" algn="l" rtl="0" eaLnBrk="0" fontAlgn="base" hangingPunct="0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5pPr>
      <a:lvl6pPr marL="996950" indent="-269875" algn="l" rtl="0" fontAlgn="base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6pPr>
      <a:lvl7pPr marL="1454150" indent="-269875" algn="l" rtl="0" fontAlgn="base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7pPr>
      <a:lvl8pPr marL="1911350" indent="-269875" algn="l" rtl="0" fontAlgn="base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8pPr>
      <a:lvl9pPr marL="2368550" indent="-269875" algn="l" rtl="0" fontAlgn="base">
        <a:lnSpc>
          <a:spcPts val="2000"/>
        </a:lnSpc>
        <a:spcBef>
          <a:spcPct val="0"/>
        </a:spcBef>
        <a:spcAft>
          <a:spcPct val="50000"/>
        </a:spcAft>
        <a:buChar char="-"/>
        <a:defRPr sz="15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366713"/>
            <a:ext cx="8348662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itelmasterformat durch Klicken bearbeiten</a:t>
            </a:r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88" y="1211263"/>
            <a:ext cx="8348662" cy="5180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masterformate durch Klicken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 bwMode="auto">
          <a:xfrm>
            <a:off x="85725" y="6548438"/>
            <a:ext cx="252413" cy="30638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20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fld id="{91B79982-B9AA-4A88-98EE-1C04EC70A284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7196" r:id="rId1"/>
    <p:sldLayoutId id="2147487197" r:id="rId2"/>
    <p:sldLayoutId id="2147487198" r:id="rId3"/>
    <p:sldLayoutId id="2147487199" r:id="rId4"/>
    <p:sldLayoutId id="2147487200" r:id="rId5"/>
    <p:sldLayoutId id="2147487201" r:id="rId6"/>
    <p:sldLayoutId id="2147487202" r:id="rId7"/>
    <p:sldLayoutId id="2147487203" r:id="rId8"/>
    <p:sldLayoutId id="2147487204" r:id="rId9"/>
    <p:sldLayoutId id="2147487205" r:id="rId10"/>
    <p:sldLayoutId id="2147487206" r:id="rId11"/>
    <p:sldLayoutId id="2147487207" r:id="rId12"/>
    <p:sldLayoutId id="2147487208" r:id="rId13"/>
    <p:sldLayoutId id="2147487209" r:id="rId1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CorpoA" pitchFamily="2" charset="0"/>
          <a:cs typeface="Arial" charset="0"/>
        </a:defRPr>
      </a:lvl9pPr>
    </p:titleStyle>
    <p:bodyStyle>
      <a:lvl1pPr marL="342900" indent="-342900" algn="l" rtl="0" eaLnBrk="0" fontAlgn="base" hangingPunct="0">
        <a:lnSpc>
          <a:spcPts val="2600"/>
        </a:lnSpc>
        <a:spcBef>
          <a:spcPct val="0"/>
        </a:spcBef>
        <a:spcAft>
          <a:spcPts val="1000"/>
        </a:spcAft>
        <a:defRPr>
          <a:solidFill>
            <a:schemeClr val="tx1"/>
          </a:solidFill>
          <a:latin typeface="Arial" charset="0"/>
          <a:ea typeface="+mn-ea"/>
          <a:cs typeface="+mn-cs"/>
        </a:defRPr>
      </a:lvl1pPr>
      <a:lvl2pPr marL="263525" indent="-261938" algn="l" rtl="0" eaLnBrk="0" fontAlgn="base" hangingPunct="0">
        <a:lnSpc>
          <a:spcPts val="2600"/>
        </a:lnSpc>
        <a:spcBef>
          <a:spcPct val="0"/>
        </a:spcBef>
        <a:spcAft>
          <a:spcPts val="1000"/>
        </a:spcAft>
        <a:buFont typeface="CorpoS" pitchFamily="2" charset="0"/>
        <a:buChar char="•"/>
        <a:defRPr>
          <a:solidFill>
            <a:schemeClr val="tx1"/>
          </a:solidFill>
          <a:latin typeface="Arial" charset="0"/>
          <a:cs typeface="+mn-cs"/>
        </a:defRPr>
      </a:lvl2pPr>
      <a:lvl3pPr marL="538163" indent="-268288" algn="l" rtl="0" eaLnBrk="0" fontAlgn="base" hangingPunct="0">
        <a:lnSpc>
          <a:spcPts val="2000"/>
        </a:lnSpc>
        <a:spcBef>
          <a:spcPct val="0"/>
        </a:spcBef>
        <a:spcAft>
          <a:spcPct val="50000"/>
        </a:spcAft>
        <a:buChar char="-"/>
        <a:defRPr>
          <a:solidFill>
            <a:schemeClr val="tx1"/>
          </a:solidFill>
          <a:latin typeface="Arial" charset="0"/>
          <a:cs typeface="+mn-cs"/>
        </a:defRPr>
      </a:lvl3pPr>
      <a:lvl4pPr marL="539750" indent="-269875" algn="l" rtl="0" eaLnBrk="0" fontAlgn="base" hangingPunct="0">
        <a:lnSpc>
          <a:spcPts val="2000"/>
        </a:lnSpc>
        <a:spcBef>
          <a:spcPct val="0"/>
        </a:spcBef>
        <a:spcAft>
          <a:spcPct val="50000"/>
        </a:spcAft>
        <a:buChar char="-"/>
        <a:defRPr>
          <a:solidFill>
            <a:schemeClr val="tx1"/>
          </a:solidFill>
          <a:latin typeface="Arial" charset="0"/>
          <a:cs typeface="+mn-cs"/>
        </a:defRPr>
      </a:lvl4pPr>
      <a:lvl5pPr marL="539750" indent="-269875" algn="l" rtl="0" eaLnBrk="0" fontAlgn="base" hangingPunct="0">
        <a:lnSpc>
          <a:spcPts val="2000"/>
        </a:lnSpc>
        <a:spcBef>
          <a:spcPct val="0"/>
        </a:spcBef>
        <a:spcAft>
          <a:spcPct val="50000"/>
        </a:spcAft>
        <a:buChar char="-"/>
        <a:defRPr>
          <a:solidFill>
            <a:schemeClr val="tx1"/>
          </a:solidFill>
          <a:latin typeface="Arial" charset="0"/>
          <a:cs typeface="+mn-cs"/>
        </a:defRPr>
      </a:lvl5pPr>
      <a:lvl6pPr marL="2960688" indent="-85725" algn="l" rtl="0" fontAlgn="base">
        <a:lnSpc>
          <a:spcPts val="2200"/>
        </a:lnSpc>
        <a:spcBef>
          <a:spcPct val="0"/>
        </a:spcBef>
        <a:spcAft>
          <a:spcPct val="50000"/>
        </a:spcAft>
        <a:buChar char="•"/>
        <a:defRPr sz="2000">
          <a:solidFill>
            <a:schemeClr val="tx1"/>
          </a:solidFill>
          <a:latin typeface="+mn-lt"/>
          <a:cs typeface="+mn-cs"/>
        </a:defRPr>
      </a:lvl6pPr>
      <a:lvl7pPr marL="3417888" indent="-85725" algn="l" rtl="0" fontAlgn="base">
        <a:lnSpc>
          <a:spcPts val="2200"/>
        </a:lnSpc>
        <a:spcBef>
          <a:spcPct val="0"/>
        </a:spcBef>
        <a:spcAft>
          <a:spcPct val="50000"/>
        </a:spcAft>
        <a:buChar char="•"/>
        <a:defRPr sz="2000">
          <a:solidFill>
            <a:schemeClr val="tx1"/>
          </a:solidFill>
          <a:latin typeface="+mn-lt"/>
          <a:cs typeface="+mn-cs"/>
        </a:defRPr>
      </a:lvl7pPr>
      <a:lvl8pPr marL="3875088" indent="-85725" algn="l" rtl="0" fontAlgn="base">
        <a:lnSpc>
          <a:spcPts val="2200"/>
        </a:lnSpc>
        <a:spcBef>
          <a:spcPct val="0"/>
        </a:spcBef>
        <a:spcAft>
          <a:spcPct val="50000"/>
        </a:spcAft>
        <a:buChar char="•"/>
        <a:defRPr sz="2000">
          <a:solidFill>
            <a:schemeClr val="tx1"/>
          </a:solidFill>
          <a:latin typeface="+mn-lt"/>
          <a:cs typeface="+mn-cs"/>
        </a:defRPr>
      </a:lvl8pPr>
      <a:lvl9pPr marL="4332288" indent="-85725" algn="l" rtl="0" fontAlgn="base">
        <a:lnSpc>
          <a:spcPts val="2200"/>
        </a:lnSpc>
        <a:spcBef>
          <a:spcPct val="0"/>
        </a:spcBef>
        <a:spcAft>
          <a:spcPct val="50000"/>
        </a:spcAft>
        <a:buChar char="•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6000" y="368191"/>
            <a:ext cx="8352000" cy="90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 smtClean="0"/>
              <a:t>Headline for content page in CorpoA Regular 30 pt on two lines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6000" y="1422944"/>
            <a:ext cx="8352000" cy="497309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Text slides are in CorpoS Regular, 20 pt.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7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  <a:endParaRPr lang="en-US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436096" y="6552000"/>
            <a:ext cx="765448" cy="306000"/>
          </a:xfrm>
          <a:prstGeom prst="rect">
            <a:avLst/>
          </a:prstGeom>
        </p:spPr>
        <p:txBody>
          <a:bodyPr vert="horz" lIns="0" tIns="7200" rIns="0" bIns="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2E7450D6-D2BA-4BFE-B906-B50DDE0136B9}" type="datetime1">
              <a:rPr lang="en-US" smtClean="0">
                <a:solidFill>
                  <a:prstClr val="black"/>
                </a:solidFill>
                <a:latin typeface="Corpo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5/24/2013</a:t>
            </a:fld>
            <a:endParaRPr lang="en-US">
              <a:solidFill>
                <a:prstClr val="black"/>
              </a:solidFill>
              <a:latin typeface="CorpoS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6001" y="6552000"/>
            <a:ext cx="4896080" cy="306000"/>
          </a:xfrm>
          <a:prstGeom prst="rect">
            <a:avLst/>
          </a:prstGeom>
        </p:spPr>
        <p:txBody>
          <a:bodyPr vert="horz" lIns="0" tIns="7200" rIns="0" bIns="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prstClr val="black"/>
                </a:solidFill>
                <a:latin typeface="CorpoS"/>
              </a:rPr>
              <a:t>Annual Dealer Meeting 2012 | 14.12.2012</a:t>
            </a:r>
            <a:endParaRPr lang="en-US">
              <a:solidFill>
                <a:prstClr val="black"/>
              </a:solidFill>
              <a:latin typeface="CorpoS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230" y="6552000"/>
            <a:ext cx="251048" cy="306000"/>
          </a:xfrm>
          <a:prstGeom prst="rect">
            <a:avLst/>
          </a:prstGeom>
        </p:spPr>
        <p:txBody>
          <a:bodyPr vert="horz" lIns="0" tIns="7200" rIns="0" bIns="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B8BD4307-8E25-4063-B042-91C9BB9E4C20}" type="slidenum">
              <a:rPr lang="en-US" smtClean="0">
                <a:solidFill>
                  <a:prstClr val="black"/>
                </a:solidFill>
                <a:latin typeface="Corpo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en-US">
              <a:solidFill>
                <a:prstClr val="black"/>
              </a:solidFill>
              <a:latin typeface="CorpoS"/>
            </a:endParaRPr>
          </a:p>
        </p:txBody>
      </p:sp>
      <p:cxnSp>
        <p:nvCxnSpPr>
          <p:cNvPr id="8" name="Gerade Verbindung 7"/>
          <p:cNvCxnSpPr/>
          <p:nvPr/>
        </p:nvCxnSpPr>
        <p:spPr>
          <a:xfrm>
            <a:off x="396000" y="6552000"/>
            <a:ext cx="835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2347" y="6652539"/>
            <a:ext cx="938784" cy="108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742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217" r:id="rId1"/>
    <p:sldLayoutId id="2147487218" r:id="rId2"/>
    <p:sldLayoutId id="2147487219" r:id="rId3"/>
    <p:sldLayoutId id="2147487220" r:id="rId4"/>
    <p:sldLayoutId id="2147487221" r:id="rId5"/>
    <p:sldLayoutId id="2147487222" r:id="rId6"/>
    <p:sldLayoutId id="2147487223" r:id="rId7"/>
    <p:sldLayoutId id="2147487224" r:id="rId8"/>
    <p:sldLayoutId id="2147487225" r:id="rId9"/>
    <p:sldLayoutId id="2147487226" r:id="rId10"/>
    <p:sldLayoutId id="2147487227" r:id="rId11"/>
    <p:sldLayoutId id="2147487228" r:id="rId12"/>
    <p:sldLayoutId id="2147487229" r:id="rId13"/>
    <p:sldLayoutId id="2147487230" r:id="rId1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3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6000" y="368191"/>
            <a:ext cx="8352000" cy="90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 smtClean="0"/>
              <a:t>Headline for content page in CorpoA Regular 30 pt on two lines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6000" y="1422944"/>
            <a:ext cx="8352000" cy="497309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Text slides are in CorpoS Regular, 20 pt.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7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  <a:endParaRPr lang="en-US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436096" y="6552000"/>
            <a:ext cx="765448" cy="306000"/>
          </a:xfrm>
          <a:prstGeom prst="rect">
            <a:avLst/>
          </a:prstGeom>
        </p:spPr>
        <p:txBody>
          <a:bodyPr vert="horz" lIns="0" tIns="7200" rIns="0" bIns="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2E7450D6-D2BA-4BFE-B906-B50DDE0136B9}" type="datetime1">
              <a:rPr lang="en-US" smtClean="0">
                <a:solidFill>
                  <a:prstClr val="black"/>
                </a:solidFill>
                <a:latin typeface="Corpo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5/24/2013</a:t>
            </a:fld>
            <a:endParaRPr lang="en-US">
              <a:solidFill>
                <a:prstClr val="black"/>
              </a:solidFill>
              <a:latin typeface="CorpoS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6001" y="6552000"/>
            <a:ext cx="4896080" cy="306000"/>
          </a:xfrm>
          <a:prstGeom prst="rect">
            <a:avLst/>
          </a:prstGeom>
        </p:spPr>
        <p:txBody>
          <a:bodyPr vert="horz" lIns="0" tIns="7200" rIns="0" bIns="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prstClr val="black"/>
                </a:solidFill>
                <a:latin typeface="CorpoS"/>
              </a:rPr>
              <a:t>Annual Dealer Meeting 2012 | 14.12.2012</a:t>
            </a:r>
            <a:endParaRPr lang="en-US">
              <a:solidFill>
                <a:prstClr val="black"/>
              </a:solidFill>
              <a:latin typeface="CorpoS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230" y="6552000"/>
            <a:ext cx="251048" cy="306000"/>
          </a:xfrm>
          <a:prstGeom prst="rect">
            <a:avLst/>
          </a:prstGeom>
        </p:spPr>
        <p:txBody>
          <a:bodyPr vert="horz" lIns="0" tIns="7200" rIns="0" bIns="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B8BD4307-8E25-4063-B042-91C9BB9E4C20}" type="slidenum">
              <a:rPr lang="en-US" smtClean="0">
                <a:solidFill>
                  <a:prstClr val="black"/>
                </a:solidFill>
                <a:latin typeface="Corpo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en-US">
              <a:solidFill>
                <a:prstClr val="black"/>
              </a:solidFill>
              <a:latin typeface="CorpoS"/>
            </a:endParaRPr>
          </a:p>
        </p:txBody>
      </p:sp>
      <p:cxnSp>
        <p:nvCxnSpPr>
          <p:cNvPr id="8" name="Gerade Verbindung 7"/>
          <p:cNvCxnSpPr/>
          <p:nvPr/>
        </p:nvCxnSpPr>
        <p:spPr>
          <a:xfrm>
            <a:off x="396000" y="6552000"/>
            <a:ext cx="835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2347" y="6652539"/>
            <a:ext cx="938784" cy="108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9848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234" r:id="rId1"/>
    <p:sldLayoutId id="2147487235" r:id="rId2"/>
    <p:sldLayoutId id="2147487236" r:id="rId3"/>
    <p:sldLayoutId id="2147487237" r:id="rId4"/>
    <p:sldLayoutId id="2147487238" r:id="rId5"/>
    <p:sldLayoutId id="2147487239" r:id="rId6"/>
    <p:sldLayoutId id="2147487240" r:id="rId7"/>
    <p:sldLayoutId id="2147487241" r:id="rId8"/>
    <p:sldLayoutId id="2147487242" r:id="rId9"/>
    <p:sldLayoutId id="2147487243" r:id="rId10"/>
    <p:sldLayoutId id="2147487244" r:id="rId11"/>
    <p:sldLayoutId id="2147487245" r:id="rId12"/>
    <p:sldLayoutId id="2147487246" r:id="rId13"/>
    <p:sldLayoutId id="2147487247" r:id="rId14"/>
    <p:sldLayoutId id="2147487249" r:id="rId15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3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" indent="-180000" algn="l" defTabSz="914400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image" Target="../media/image29.jpeg"/><Relationship Id="rId7" Type="http://schemas.openxmlformats.org/officeDocument/2006/relationships/image" Target="../media/image3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2.jpeg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5.w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16.png"/><Relationship Id="rId4" Type="http://schemas.openxmlformats.org/officeDocument/2006/relationships/notesSlide" Target="../notesSlides/notesSlide1.xml"/><Relationship Id="rId9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26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27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818" name="Picture 2" descr="http://2.bp.blogspot.com/-ruQsUBZ9MTk/UUczM6IgYWI/AAAAAAAAlOI/3V7IiJJP53o/s1600/Early+Reveal+-+The+All+New+Mercedes-Benz+S-Class+(2)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896" b="11891"/>
          <a:stretch/>
        </p:blipFill>
        <p:spPr bwMode="auto">
          <a:xfrm>
            <a:off x="0" y="0"/>
            <a:ext cx="9144000" cy="4191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414338" y="4351859"/>
            <a:ext cx="8348662" cy="900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CorpoA" pitchFamily="2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CorpoA" pitchFamily="2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CorpoA" pitchFamily="2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CorpoA" pitchFamily="2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CorpoA" pitchFamily="2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CorpoA" pitchFamily="2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CorpoA" pitchFamily="2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CorpoA" pitchFamily="2" charset="0"/>
                <a:cs typeface="Arial" charset="0"/>
              </a:defRPr>
            </a:lvl9pPr>
          </a:lstStyle>
          <a:p>
            <a:r>
              <a:rPr lang="en-US" b="1" kern="0" dirty="0" smtClean="0"/>
              <a:t>Thailand Business Day </a:t>
            </a:r>
          </a:p>
          <a:p>
            <a:r>
              <a:rPr lang="en-US" b="1" kern="0" dirty="0" smtClean="0"/>
              <a:t> 7 June 2013 – Asia Pacific Weeks, Berlin</a:t>
            </a:r>
            <a:endParaRPr lang="de-DE" b="1" kern="0" dirty="0" smtClean="0"/>
          </a:p>
        </p:txBody>
      </p:sp>
    </p:spTree>
    <p:extLst>
      <p:ext uri="{BB962C8B-B14F-4D97-AF65-F5344CB8AC3E}">
        <p14:creationId xmlns:p14="http://schemas.microsoft.com/office/powerpoint/2010/main" val="328402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16642" name="Picture 2" descr="C:\Users\masc218\AppData\Local\Microsoft\Windows\Temporary Internet Files\Content.Outlook\88W849T6\HYBRID2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7" r="6972" b="14930"/>
          <a:stretch/>
        </p:blipFill>
        <p:spPr bwMode="auto">
          <a:xfrm>
            <a:off x="395287" y="1121608"/>
            <a:ext cx="8126485" cy="3676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16649" name="Picture 9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886" t="40840" r="16114" b="39944"/>
          <a:stretch/>
        </p:blipFill>
        <p:spPr bwMode="auto">
          <a:xfrm>
            <a:off x="2340588" y="4295532"/>
            <a:ext cx="1263051" cy="728112"/>
          </a:xfrm>
          <a:prstGeom prst="rect">
            <a:avLst/>
          </a:prstGeom>
          <a:noFill/>
          <a:ln w="25400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816650" name="Picture 10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799" t="45833" r="22607" b="35183"/>
          <a:stretch/>
        </p:blipFill>
        <p:spPr bwMode="auto">
          <a:xfrm>
            <a:off x="7201128" y="4274318"/>
            <a:ext cx="1249472" cy="729662"/>
          </a:xfrm>
          <a:prstGeom prst="rect">
            <a:avLst/>
          </a:prstGeom>
          <a:noFill/>
          <a:ln w="25400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816651" name="Picture 11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21" t="32081" r="64613" b="50000"/>
          <a:stretch/>
        </p:blipFill>
        <p:spPr bwMode="auto">
          <a:xfrm>
            <a:off x="5616952" y="4283899"/>
            <a:ext cx="1244670" cy="728113"/>
          </a:xfrm>
          <a:prstGeom prst="rect">
            <a:avLst/>
          </a:prstGeom>
          <a:noFill/>
          <a:ln w="25400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" name="Picture 11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133" t="32081" r="39985" b="50000"/>
          <a:stretch/>
        </p:blipFill>
        <p:spPr bwMode="auto">
          <a:xfrm>
            <a:off x="3960768" y="4301073"/>
            <a:ext cx="1285494" cy="715761"/>
          </a:xfrm>
          <a:prstGeom prst="rect">
            <a:avLst/>
          </a:prstGeom>
          <a:noFill/>
          <a:ln w="25400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9" name="Picture 10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333" t="45833" r="50673" b="30246"/>
          <a:stretch/>
        </p:blipFill>
        <p:spPr bwMode="auto">
          <a:xfrm>
            <a:off x="612396" y="3985614"/>
            <a:ext cx="1391957" cy="1040860"/>
          </a:xfrm>
          <a:prstGeom prst="rect">
            <a:avLst/>
          </a:prstGeom>
          <a:noFill/>
          <a:ln w="25400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Box 4"/>
          <p:cNvSpPr txBox="1"/>
          <p:nvPr/>
        </p:nvSpPr>
        <p:spPr>
          <a:xfrm>
            <a:off x="395287" y="409917"/>
            <a:ext cx="8572544" cy="4637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en-US" sz="3000" dirty="0" smtClean="0">
                <a:latin typeface="+mj-lt"/>
                <a:cs typeface="Angsana New" panose="02020603050405020304" pitchFamily="18" charset="-34"/>
              </a:rPr>
              <a:t>Strategic Outlook – Green Technologies until 2015</a:t>
            </a:r>
          </a:p>
        </p:txBody>
      </p:sp>
      <p:sp>
        <p:nvSpPr>
          <p:cNvPr id="11" name="Gleichschenkliges Dreieck 10"/>
          <p:cNvSpPr/>
          <p:nvPr/>
        </p:nvSpPr>
        <p:spPr>
          <a:xfrm rot="5400000">
            <a:off x="318678" y="5341694"/>
            <a:ext cx="265869" cy="158103"/>
          </a:xfrm>
          <a:prstGeom prst="triangl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200"/>
              </a:spcAft>
            </a:pPr>
            <a:endParaRPr lang="en-US"/>
          </a:p>
        </p:txBody>
      </p:sp>
      <p:sp>
        <p:nvSpPr>
          <p:cNvPr id="12" name="Textfeld 11"/>
          <p:cNvSpPr txBox="1"/>
          <p:nvPr/>
        </p:nvSpPr>
        <p:spPr>
          <a:xfrm>
            <a:off x="592939" y="5237476"/>
            <a:ext cx="8177239" cy="12311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dirty="0" smtClean="0">
                <a:latin typeface="+mn-lt"/>
              </a:rPr>
              <a:t>New Technologies – First Diesel Hybrid in the World (E-Class) to be launched in July 13</a:t>
            </a:r>
            <a:endParaRPr lang="en-US" dirty="0">
              <a:latin typeface="+mn-lt"/>
            </a:endParaRPr>
          </a:p>
          <a:p>
            <a:pPr>
              <a:spcAft>
                <a:spcPts val="1200"/>
              </a:spcAft>
            </a:pPr>
            <a:r>
              <a:rPr lang="en-US" dirty="0">
                <a:latin typeface="+mn-lt"/>
              </a:rPr>
              <a:t>Defend Leadership in green Technologies and comply with local tax system</a:t>
            </a:r>
          </a:p>
          <a:p>
            <a:pPr>
              <a:spcAft>
                <a:spcPts val="1200"/>
              </a:spcAft>
            </a:pPr>
            <a:r>
              <a:rPr lang="en-US" dirty="0">
                <a:latin typeface="+mn-lt"/>
              </a:rPr>
              <a:t>Hybridization for entire CKD product </a:t>
            </a:r>
            <a:r>
              <a:rPr lang="en-US" dirty="0" smtClean="0">
                <a:latin typeface="+mn-lt"/>
              </a:rPr>
              <a:t>range  ( S-Class, C-Class</a:t>
            </a:r>
            <a:r>
              <a:rPr lang="en-US" smtClean="0">
                <a:latin typeface="+mn-lt"/>
              </a:rPr>
              <a:t>, M-Class ) </a:t>
            </a:r>
            <a:endParaRPr lang="en-US" dirty="0">
              <a:latin typeface="+mn-lt"/>
            </a:endParaRPr>
          </a:p>
        </p:txBody>
      </p:sp>
      <p:sp>
        <p:nvSpPr>
          <p:cNvPr id="13" name="Gleichschenkliges Dreieck 12"/>
          <p:cNvSpPr/>
          <p:nvPr/>
        </p:nvSpPr>
        <p:spPr>
          <a:xfrm rot="5400000">
            <a:off x="318678" y="5773977"/>
            <a:ext cx="265869" cy="158103"/>
          </a:xfrm>
          <a:prstGeom prst="triangl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200"/>
              </a:spcAft>
            </a:pPr>
            <a:endParaRPr lang="en-US"/>
          </a:p>
        </p:txBody>
      </p:sp>
      <p:sp>
        <p:nvSpPr>
          <p:cNvPr id="14" name="Gleichschenkliges Dreieck 13"/>
          <p:cNvSpPr/>
          <p:nvPr/>
        </p:nvSpPr>
        <p:spPr>
          <a:xfrm rot="5400000">
            <a:off x="318678" y="6213562"/>
            <a:ext cx="265869" cy="158103"/>
          </a:xfrm>
          <a:prstGeom prst="triangl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200"/>
              </a:spcAft>
            </a:pPr>
            <a:endParaRPr lang="en-US"/>
          </a:p>
        </p:txBody>
      </p:sp>
      <p:sp>
        <p:nvSpPr>
          <p:cNvPr id="17" name="Slide Number Placeholder 2"/>
          <p:cNvSpPr txBox="1">
            <a:spLocks/>
          </p:cNvSpPr>
          <p:nvPr/>
        </p:nvSpPr>
        <p:spPr bwMode="auto">
          <a:xfrm>
            <a:off x="85725" y="6548438"/>
            <a:ext cx="252413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200" rIns="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CorpoS" pitchFamily="2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56D4190-553A-402D-AAA6-1CC8E35BECCD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 pitchFamily="2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8939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1392572" y="1233182"/>
            <a:ext cx="6686026" cy="488239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058" name="Text Box 2"/>
          <p:cNvSpPr txBox="1">
            <a:spLocks noChangeArrowheads="1"/>
          </p:cNvSpPr>
          <p:nvPr/>
        </p:nvSpPr>
        <p:spPr bwMode="auto">
          <a:xfrm>
            <a:off x="1835150" y="5165725"/>
            <a:ext cx="2638425" cy="787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>
              <a:lnSpc>
                <a:spcPct val="95000"/>
              </a:lnSpc>
              <a:spcBef>
                <a:spcPct val="50000"/>
              </a:spcBef>
            </a:pPr>
            <a:r>
              <a:rPr lang="en-US" sz="1600" b="0">
                <a:solidFill>
                  <a:srgbClr val="000000"/>
                </a:solidFill>
                <a:cs typeface="Angsana New" pitchFamily="18" charset="-34"/>
              </a:rPr>
              <a:t>Mercedes-Benz Manufacturing (Thailand) Ltd. (MBMTh)</a:t>
            </a:r>
            <a:endParaRPr lang="en-US" sz="1600">
              <a:solidFill>
                <a:srgbClr val="000000"/>
              </a:solidFill>
              <a:cs typeface="Angsana New" pitchFamily="18" charset="-34"/>
            </a:endParaRPr>
          </a:p>
        </p:txBody>
      </p:sp>
      <p:sp>
        <p:nvSpPr>
          <p:cNvPr id="45059" name="Text Box 3"/>
          <p:cNvSpPr txBox="1">
            <a:spLocks noChangeArrowheads="1"/>
          </p:cNvSpPr>
          <p:nvPr/>
        </p:nvSpPr>
        <p:spPr bwMode="auto">
          <a:xfrm>
            <a:off x="5184775" y="5165725"/>
            <a:ext cx="2155825" cy="787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>
              <a:lnSpc>
                <a:spcPct val="95000"/>
              </a:lnSpc>
              <a:spcBef>
                <a:spcPct val="50000"/>
              </a:spcBef>
            </a:pPr>
            <a:r>
              <a:rPr lang="en-US" sz="1600" b="0">
                <a:solidFill>
                  <a:srgbClr val="000000"/>
                </a:solidFill>
                <a:cs typeface="Angsana New" pitchFamily="18" charset="-34"/>
              </a:rPr>
              <a:t>Mercedes-Benz Leasing (Thailand) Ltd.</a:t>
            </a:r>
            <a:br>
              <a:rPr lang="en-US" sz="1600" b="0">
                <a:solidFill>
                  <a:srgbClr val="000000"/>
                </a:solidFill>
                <a:cs typeface="Angsana New" pitchFamily="18" charset="-34"/>
              </a:rPr>
            </a:br>
            <a:r>
              <a:rPr lang="en-US" sz="1600" b="0">
                <a:solidFill>
                  <a:srgbClr val="000000"/>
                </a:solidFill>
                <a:cs typeface="Angsana New" pitchFamily="18" charset="-34"/>
              </a:rPr>
              <a:t>(MBLT)</a:t>
            </a:r>
          </a:p>
        </p:txBody>
      </p:sp>
      <p:pic>
        <p:nvPicPr>
          <p:cNvPr id="45060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3988" y="1603375"/>
            <a:ext cx="1225550" cy="76993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38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000000"/>
                  </a:outerShdw>
                </a:effectLst>
              </a14:hiddenEffects>
            </a:ext>
          </a:extLst>
        </p:spPr>
      </p:pic>
      <p:graphicFrame>
        <p:nvGraphicFramePr>
          <p:cNvPr id="45061" name="Object 5"/>
          <p:cNvGraphicFramePr>
            <a:graphicFrameLocks noChangeAspect="1"/>
          </p:cNvGraphicFramePr>
          <p:nvPr/>
        </p:nvGraphicFramePr>
        <p:xfrm flipV="1">
          <a:off x="2519363" y="4302125"/>
          <a:ext cx="1223962" cy="801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69" name="Document" r:id="rId6" imgW="2229612" imgH="1463040" progId="Word.Document.8">
                  <p:embed/>
                </p:oleObj>
              </mc:Choice>
              <mc:Fallback>
                <p:oleObj name="Document" r:id="rId6" imgW="2229612" imgH="1463040" progId="Word.Documen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 flipV="1">
                        <a:off x="2519363" y="4302125"/>
                        <a:ext cx="1223962" cy="801688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62" name="Line 7"/>
          <p:cNvSpPr>
            <a:spLocks noChangeShapeType="1"/>
          </p:cNvSpPr>
          <p:nvPr/>
        </p:nvSpPr>
        <p:spPr bwMode="auto">
          <a:xfrm>
            <a:off x="4573588" y="2438400"/>
            <a:ext cx="0" cy="43815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="1">
              <a:solidFill>
                <a:srgbClr val="000000"/>
              </a:solidFill>
              <a:latin typeface="CorpoS" pitchFamily="2" charset="0"/>
            </a:endParaRPr>
          </a:p>
        </p:txBody>
      </p:sp>
      <p:sp>
        <p:nvSpPr>
          <p:cNvPr id="45063" name="Text Box 10"/>
          <p:cNvSpPr txBox="1">
            <a:spLocks noChangeArrowheads="1"/>
          </p:cNvSpPr>
          <p:nvPr/>
        </p:nvSpPr>
        <p:spPr bwMode="auto">
          <a:xfrm>
            <a:off x="3875088" y="2608263"/>
            <a:ext cx="676275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/>
            <a:r>
              <a:rPr lang="en-US" sz="1600">
                <a:solidFill>
                  <a:srgbClr val="000000"/>
                </a:solidFill>
              </a:rPr>
              <a:t>100%</a:t>
            </a:r>
          </a:p>
        </p:txBody>
      </p:sp>
      <p:sp>
        <p:nvSpPr>
          <p:cNvPr id="45064" name="Text Box 11"/>
          <p:cNvSpPr txBox="1">
            <a:spLocks noChangeArrowheads="1"/>
          </p:cNvSpPr>
          <p:nvPr/>
        </p:nvSpPr>
        <p:spPr bwMode="auto">
          <a:xfrm>
            <a:off x="2447925" y="3948113"/>
            <a:ext cx="676275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/>
            <a:r>
              <a:rPr lang="en-US" sz="1600">
                <a:solidFill>
                  <a:srgbClr val="000000"/>
                </a:solidFill>
              </a:rPr>
              <a:t>100%</a:t>
            </a:r>
          </a:p>
        </p:txBody>
      </p:sp>
      <p:graphicFrame>
        <p:nvGraphicFramePr>
          <p:cNvPr id="45065" name="Object 13"/>
          <p:cNvGraphicFramePr>
            <a:graphicFrameLocks noChangeAspect="1"/>
          </p:cNvGraphicFramePr>
          <p:nvPr/>
        </p:nvGraphicFramePr>
        <p:xfrm flipV="1">
          <a:off x="3954463" y="2919413"/>
          <a:ext cx="1223962" cy="831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70" name="Document" r:id="rId8" imgW="2229612" imgH="1463040" progId="Word.Document.8">
                  <p:embed/>
                </p:oleObj>
              </mc:Choice>
              <mc:Fallback>
                <p:oleObj name="Document" r:id="rId8" imgW="2229612" imgH="1463040" progId="Word.Documen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 flipV="1">
                        <a:off x="3954463" y="2919413"/>
                        <a:ext cx="1223962" cy="831850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66" name="Text Box 16"/>
          <p:cNvSpPr txBox="1">
            <a:spLocks noChangeArrowheads="1"/>
          </p:cNvSpPr>
          <p:nvPr/>
        </p:nvSpPr>
        <p:spPr bwMode="auto">
          <a:xfrm>
            <a:off x="2197100" y="2925763"/>
            <a:ext cx="1728788" cy="787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>
              <a:lnSpc>
                <a:spcPct val="95000"/>
              </a:lnSpc>
              <a:spcBef>
                <a:spcPct val="50000"/>
              </a:spcBef>
            </a:pPr>
            <a:r>
              <a:rPr lang="en-US" sz="1600" b="0">
                <a:solidFill>
                  <a:srgbClr val="000000"/>
                </a:solidFill>
                <a:cs typeface="Angsana New" pitchFamily="18" charset="-34"/>
              </a:rPr>
              <a:t>Mercedes-Benz (Thailand) Ltd. (MBTh)</a:t>
            </a:r>
            <a:endParaRPr lang="en-US" sz="1600">
              <a:solidFill>
                <a:srgbClr val="000000"/>
              </a:solidFill>
              <a:cs typeface="Angsana New" pitchFamily="18" charset="-34"/>
            </a:endParaRPr>
          </a:p>
        </p:txBody>
      </p:sp>
      <p:sp>
        <p:nvSpPr>
          <p:cNvPr id="45067" name="Line 17"/>
          <p:cNvSpPr>
            <a:spLocks noChangeShapeType="1"/>
          </p:cNvSpPr>
          <p:nvPr/>
        </p:nvSpPr>
        <p:spPr bwMode="auto">
          <a:xfrm>
            <a:off x="3133725" y="4100513"/>
            <a:ext cx="3095625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="1">
              <a:solidFill>
                <a:srgbClr val="000000"/>
              </a:solidFill>
              <a:latin typeface="CorpoS" pitchFamily="2" charset="0"/>
            </a:endParaRPr>
          </a:p>
        </p:txBody>
      </p:sp>
      <p:sp>
        <p:nvSpPr>
          <p:cNvPr id="45068" name="Line 18"/>
          <p:cNvSpPr>
            <a:spLocks noChangeShapeType="1"/>
          </p:cNvSpPr>
          <p:nvPr/>
        </p:nvSpPr>
        <p:spPr bwMode="auto">
          <a:xfrm>
            <a:off x="3133725" y="4102100"/>
            <a:ext cx="0" cy="144463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="1">
              <a:solidFill>
                <a:srgbClr val="000000"/>
              </a:solidFill>
              <a:latin typeface="CorpoS" pitchFamily="2" charset="0"/>
            </a:endParaRPr>
          </a:p>
        </p:txBody>
      </p:sp>
      <p:sp>
        <p:nvSpPr>
          <p:cNvPr id="45069" name="Line 19"/>
          <p:cNvSpPr>
            <a:spLocks noChangeShapeType="1"/>
          </p:cNvSpPr>
          <p:nvPr/>
        </p:nvSpPr>
        <p:spPr bwMode="auto">
          <a:xfrm>
            <a:off x="6229350" y="4102100"/>
            <a:ext cx="0" cy="144463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="1">
              <a:solidFill>
                <a:srgbClr val="000000"/>
              </a:solidFill>
              <a:latin typeface="CorpoS" pitchFamily="2" charset="0"/>
            </a:endParaRPr>
          </a:p>
        </p:txBody>
      </p:sp>
      <p:sp>
        <p:nvSpPr>
          <p:cNvPr id="45070" name="Line 20"/>
          <p:cNvSpPr>
            <a:spLocks noChangeShapeType="1"/>
          </p:cNvSpPr>
          <p:nvPr/>
        </p:nvSpPr>
        <p:spPr bwMode="auto">
          <a:xfrm>
            <a:off x="4573588" y="3813175"/>
            <a:ext cx="0" cy="287338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="1">
              <a:solidFill>
                <a:srgbClr val="000000"/>
              </a:solidFill>
              <a:latin typeface="CorpoS" pitchFamily="2" charset="0"/>
            </a:endParaRPr>
          </a:p>
        </p:txBody>
      </p:sp>
      <p:graphicFrame>
        <p:nvGraphicFramePr>
          <p:cNvPr id="45071" name="Object 21"/>
          <p:cNvGraphicFramePr>
            <a:graphicFrameLocks noChangeAspect="1"/>
          </p:cNvGraphicFramePr>
          <p:nvPr/>
        </p:nvGraphicFramePr>
        <p:xfrm flipV="1">
          <a:off x="5616575" y="4302125"/>
          <a:ext cx="1223963" cy="801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71" name="Document" r:id="rId9" imgW="2229612" imgH="1463040" progId="Word.Document.8">
                  <p:embed/>
                </p:oleObj>
              </mc:Choice>
              <mc:Fallback>
                <p:oleObj name="Document" r:id="rId9" imgW="2229612" imgH="1463040" progId="Word.Documen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 flipV="1">
                        <a:off x="5616575" y="4302125"/>
                        <a:ext cx="1223963" cy="801688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72" name="Text Box 22"/>
          <p:cNvSpPr txBox="1">
            <a:spLocks noChangeArrowheads="1"/>
          </p:cNvSpPr>
          <p:nvPr/>
        </p:nvSpPr>
        <p:spPr bwMode="auto">
          <a:xfrm>
            <a:off x="6235700" y="3948113"/>
            <a:ext cx="676275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/>
            <a:r>
              <a:rPr lang="en-US" sz="1600">
                <a:solidFill>
                  <a:srgbClr val="000000"/>
                </a:solidFill>
              </a:rPr>
              <a:t>100%</a:t>
            </a:r>
          </a:p>
        </p:txBody>
      </p:sp>
      <p:sp>
        <p:nvSpPr>
          <p:cNvPr id="45073" name="Text Box 27"/>
          <p:cNvSpPr txBox="1">
            <a:spLocks noChangeArrowheads="1"/>
          </p:cNvSpPr>
          <p:nvPr/>
        </p:nvSpPr>
        <p:spPr bwMode="auto">
          <a:xfrm>
            <a:off x="5229225" y="1804988"/>
            <a:ext cx="2376488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>
              <a:lnSpc>
                <a:spcPct val="95000"/>
              </a:lnSpc>
              <a:spcBef>
                <a:spcPct val="50000"/>
              </a:spcBef>
            </a:pPr>
            <a:r>
              <a:rPr lang="en-US" sz="1600" b="0">
                <a:solidFill>
                  <a:srgbClr val="000000"/>
                </a:solidFill>
                <a:cs typeface="Angsana New" pitchFamily="18" charset="-34"/>
              </a:rPr>
              <a:t>Daimler AG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56D4190-553A-402D-AAA6-1CC8E35BECCD}" type="slidenum">
              <a:rPr lang="en-US" b="1" smtClean="0">
                <a:solidFill>
                  <a:srgbClr val="000000"/>
                </a:solidFill>
              </a:rPr>
              <a:pPr>
                <a:defRPr/>
              </a:pPr>
              <a:t>2</a:t>
            </a:fld>
            <a:endParaRPr lang="en-US" b="1">
              <a:solidFill>
                <a:srgbClr val="000000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395288" y="409084"/>
            <a:ext cx="8348662" cy="4985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lnSpc>
                <a:spcPct val="108000"/>
              </a:lnSpc>
              <a:spcAft>
                <a:spcPts val="1008"/>
              </a:spcAft>
              <a:defRPr sz="3000">
                <a:latin typeface="+mj-lt"/>
                <a:cs typeface="Angsana New" panose="02020603050405020304" pitchFamily="18" charset="-34"/>
              </a:defRPr>
            </a:lvl1pPr>
          </a:lstStyle>
          <a:p>
            <a:r>
              <a:rPr lang="en-GB" dirty="0" smtClean="0"/>
              <a:t>Profile Daimler Group Thailand - Legal Stru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7452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4" name="Picture 2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1206500"/>
            <a:ext cx="4506912" cy="4962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30"/>
          <p:cNvSpPr>
            <a:spLocks noChangeArrowheads="1"/>
          </p:cNvSpPr>
          <p:nvPr/>
        </p:nvSpPr>
        <p:spPr bwMode="auto">
          <a:xfrm rot="10800000">
            <a:off x="395288" y="1198563"/>
            <a:ext cx="4506912" cy="1317625"/>
          </a:xfrm>
          <a:prstGeom prst="rect">
            <a:avLst/>
          </a:prstGeom>
          <a:gradFill rotWithShape="1">
            <a:gsLst>
              <a:gs pos="0">
                <a:srgbClr val="000000">
                  <a:alpha val="0"/>
                </a:srgbClr>
              </a:gs>
              <a:gs pos="100000">
                <a:srgbClr val="000000">
                  <a:gamma/>
                  <a:shade val="31765"/>
                  <a:invGamma/>
                  <a:alpha val="57001"/>
                </a:srgb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rgbClr val="FFFFFF"/>
              </a:solidFill>
              <a:latin typeface="CorpoS" pitchFamily="2" charset="0"/>
              <a:ea typeface="MS PGothic" pitchFamily="34" charset="-128"/>
            </a:endParaRPr>
          </a:p>
        </p:txBody>
      </p:sp>
      <p:grpSp>
        <p:nvGrpSpPr>
          <p:cNvPr id="46086" name="Group 32"/>
          <p:cNvGrpSpPr>
            <a:grpSpLocks/>
          </p:cNvGrpSpPr>
          <p:nvPr/>
        </p:nvGrpSpPr>
        <p:grpSpPr bwMode="auto">
          <a:xfrm>
            <a:off x="3025775" y="4371975"/>
            <a:ext cx="1662113" cy="663575"/>
            <a:chOff x="1906" y="2894"/>
            <a:chExt cx="1047" cy="418"/>
          </a:xfrm>
        </p:grpSpPr>
        <p:sp>
          <p:nvSpPr>
            <p:cNvPr id="20" name="Line 23"/>
            <p:cNvSpPr>
              <a:spLocks noChangeShapeType="1"/>
            </p:cNvSpPr>
            <p:nvPr/>
          </p:nvSpPr>
          <p:spPr bwMode="auto">
            <a:xfrm flipV="1">
              <a:off x="1906" y="2894"/>
              <a:ext cx="551" cy="168"/>
            </a:xfrm>
            <a:prstGeom prst="line">
              <a:avLst/>
            </a:prstGeom>
            <a:noFill/>
            <a:ln w="25400">
              <a:solidFill>
                <a:srgbClr val="9F000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th-TH" kern="0">
                <a:solidFill>
                  <a:srgbClr val="FFFFFF"/>
                </a:solidFill>
                <a:latin typeface="CorpoS" pitchFamily="2" charset="0"/>
                <a:ea typeface="MS PGothic" pitchFamily="34" charset="-128"/>
              </a:endParaRPr>
            </a:p>
          </p:txBody>
        </p:sp>
        <p:sp>
          <p:nvSpPr>
            <p:cNvPr id="21" name="Line 24"/>
            <p:cNvSpPr>
              <a:spLocks noChangeShapeType="1"/>
            </p:cNvSpPr>
            <p:nvPr/>
          </p:nvSpPr>
          <p:spPr bwMode="auto">
            <a:xfrm>
              <a:off x="2451" y="2894"/>
              <a:ext cx="496" cy="330"/>
            </a:xfrm>
            <a:prstGeom prst="line">
              <a:avLst/>
            </a:prstGeom>
            <a:noFill/>
            <a:ln w="25400">
              <a:solidFill>
                <a:srgbClr val="9F000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th-TH" kern="0">
                <a:solidFill>
                  <a:srgbClr val="FFFFFF"/>
                </a:solidFill>
                <a:latin typeface="CorpoS" pitchFamily="2" charset="0"/>
                <a:ea typeface="MS PGothic" pitchFamily="34" charset="-128"/>
              </a:endParaRPr>
            </a:p>
          </p:txBody>
        </p:sp>
        <p:sp>
          <p:nvSpPr>
            <p:cNvPr id="22" name="Line 25"/>
            <p:cNvSpPr>
              <a:spLocks noChangeShapeType="1"/>
            </p:cNvSpPr>
            <p:nvPr/>
          </p:nvSpPr>
          <p:spPr bwMode="auto">
            <a:xfrm>
              <a:off x="2943" y="3220"/>
              <a:ext cx="10" cy="84"/>
            </a:xfrm>
            <a:prstGeom prst="line">
              <a:avLst/>
            </a:prstGeom>
            <a:noFill/>
            <a:ln w="25400">
              <a:solidFill>
                <a:srgbClr val="9F0002"/>
              </a:solidFill>
              <a:round/>
              <a:headEnd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th-TH" kern="0">
                <a:solidFill>
                  <a:srgbClr val="FFFFFF"/>
                </a:solidFill>
                <a:latin typeface="CorpoS" pitchFamily="2" charset="0"/>
                <a:ea typeface="MS PGothic" pitchFamily="34" charset="-128"/>
              </a:endParaRPr>
            </a:p>
          </p:txBody>
        </p:sp>
        <p:sp>
          <p:nvSpPr>
            <p:cNvPr id="23" name="Line 26"/>
            <p:cNvSpPr>
              <a:spLocks noChangeShapeType="1"/>
            </p:cNvSpPr>
            <p:nvPr/>
          </p:nvSpPr>
          <p:spPr bwMode="auto">
            <a:xfrm>
              <a:off x="2453" y="2976"/>
              <a:ext cx="500" cy="330"/>
            </a:xfrm>
            <a:prstGeom prst="line">
              <a:avLst/>
            </a:prstGeom>
            <a:noFill/>
            <a:ln w="25400">
              <a:solidFill>
                <a:srgbClr val="9F000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th-TH" kern="0">
                <a:solidFill>
                  <a:srgbClr val="FFFFFF"/>
                </a:solidFill>
                <a:latin typeface="CorpoS" pitchFamily="2" charset="0"/>
                <a:ea typeface="MS PGothic" pitchFamily="34" charset="-128"/>
              </a:endParaRPr>
            </a:p>
          </p:txBody>
        </p:sp>
        <p:sp>
          <p:nvSpPr>
            <p:cNvPr id="24" name="Line 27"/>
            <p:cNvSpPr>
              <a:spLocks noChangeShapeType="1"/>
            </p:cNvSpPr>
            <p:nvPr/>
          </p:nvSpPr>
          <p:spPr bwMode="auto">
            <a:xfrm flipV="1">
              <a:off x="1906" y="2976"/>
              <a:ext cx="552" cy="151"/>
            </a:xfrm>
            <a:prstGeom prst="line">
              <a:avLst/>
            </a:prstGeom>
            <a:noFill/>
            <a:ln w="25400">
              <a:solidFill>
                <a:srgbClr val="9F000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th-TH" kern="0">
                <a:solidFill>
                  <a:srgbClr val="FFFFFF"/>
                </a:solidFill>
                <a:latin typeface="CorpoS" pitchFamily="2" charset="0"/>
                <a:ea typeface="MS PGothic" pitchFamily="34" charset="-128"/>
              </a:endParaRPr>
            </a:p>
          </p:txBody>
        </p:sp>
        <p:sp>
          <p:nvSpPr>
            <p:cNvPr id="25" name="Line 28"/>
            <p:cNvSpPr>
              <a:spLocks noChangeShapeType="1"/>
            </p:cNvSpPr>
            <p:nvPr/>
          </p:nvSpPr>
          <p:spPr bwMode="auto">
            <a:xfrm flipV="1">
              <a:off x="1910" y="3062"/>
              <a:ext cx="2" cy="71"/>
            </a:xfrm>
            <a:prstGeom prst="line">
              <a:avLst/>
            </a:prstGeom>
            <a:noFill/>
            <a:ln w="25400">
              <a:solidFill>
                <a:srgbClr val="9F000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th-TH" kern="0">
                <a:solidFill>
                  <a:srgbClr val="FFFFFF"/>
                </a:solidFill>
                <a:latin typeface="CorpoS" pitchFamily="2" charset="0"/>
                <a:ea typeface="MS PGothic" pitchFamily="34" charset="-128"/>
              </a:endParaRPr>
            </a:p>
          </p:txBody>
        </p:sp>
        <p:sp>
          <p:nvSpPr>
            <p:cNvPr id="26" name="Line 31"/>
            <p:cNvSpPr>
              <a:spLocks noChangeShapeType="1"/>
            </p:cNvSpPr>
            <p:nvPr/>
          </p:nvSpPr>
          <p:spPr bwMode="auto">
            <a:xfrm rot="-5400000">
              <a:off x="2949" y="3308"/>
              <a:ext cx="8" cy="0"/>
            </a:xfrm>
            <a:prstGeom prst="line">
              <a:avLst/>
            </a:prstGeom>
            <a:noFill/>
            <a:ln w="25400">
              <a:solidFill>
                <a:srgbClr val="9F0002"/>
              </a:solidFill>
              <a:round/>
              <a:headEnd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th-TH" kern="0">
                <a:solidFill>
                  <a:srgbClr val="FFFFFF"/>
                </a:solidFill>
                <a:latin typeface="CorpoS" pitchFamily="2" charset="0"/>
                <a:ea typeface="MS PGothic" pitchFamily="34" charset="-128"/>
              </a:endParaRPr>
            </a:p>
          </p:txBody>
        </p:sp>
      </p:grpSp>
      <p:sp>
        <p:nvSpPr>
          <p:cNvPr id="19" name="Text Box 36"/>
          <p:cNvSpPr txBox="1">
            <a:spLocks noChangeArrowheads="1"/>
          </p:cNvSpPr>
          <p:nvPr/>
        </p:nvSpPr>
        <p:spPr bwMode="auto">
          <a:xfrm>
            <a:off x="376238" y="5165725"/>
            <a:ext cx="4506912" cy="1035050"/>
          </a:xfrm>
          <a:prstGeom prst="rect">
            <a:avLst/>
          </a:prstGeom>
          <a:noFill/>
          <a:ln>
            <a:noFill/>
          </a:ln>
          <a:effectLst>
            <a:outerShdw dist="17961" dir="2700000" algn="ctr" rotWithShape="0">
              <a:srgbClr val="00000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CorpoS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CorpoS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CorpoS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CorpoS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CorpoS" pitchFamily="2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CorpoS" pitchFamily="2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CorpoS" pitchFamily="2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CorpoS" pitchFamily="2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CorpoS" pitchFamily="2" charset="0"/>
                <a:ea typeface="MS PGothic" pitchFamily="34" charset="-128"/>
              </a:defRPr>
            </a:lvl9pPr>
          </a:lstStyle>
          <a:p>
            <a:pPr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kern="0" dirty="0" smtClean="0">
                <a:solidFill>
                  <a:srgbClr val="FFFFFF"/>
                </a:solidFill>
                <a:cs typeface="Angsana New" pitchFamily="18" charset="-34"/>
              </a:rPr>
              <a:t>Head office</a:t>
            </a:r>
          </a:p>
          <a:p>
            <a:pPr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kern="0" dirty="0" err="1" smtClean="0">
                <a:solidFill>
                  <a:srgbClr val="FFFFFF"/>
                </a:solidFill>
                <a:cs typeface="Angsana New" pitchFamily="18" charset="-34"/>
              </a:rPr>
              <a:t>Rajanakarn</a:t>
            </a:r>
            <a:r>
              <a:rPr lang="en-US" sz="2400" b="1" kern="0" dirty="0" smtClean="0">
                <a:solidFill>
                  <a:srgbClr val="FFFFFF"/>
                </a:solidFill>
                <a:cs typeface="Angsana New" pitchFamily="18" charset="-34"/>
              </a:rPr>
              <a:t> Building, 19</a:t>
            </a:r>
            <a:r>
              <a:rPr lang="en-US" sz="2400" b="1" kern="0" baseline="30000" dirty="0" smtClean="0">
                <a:solidFill>
                  <a:srgbClr val="FFFFFF"/>
                </a:solidFill>
                <a:cs typeface="Angsana New" pitchFamily="18" charset="-34"/>
              </a:rPr>
              <a:t>th</a:t>
            </a:r>
            <a:r>
              <a:rPr lang="en-US" sz="2400" b="1" kern="0" dirty="0" smtClean="0">
                <a:solidFill>
                  <a:srgbClr val="FFFFFF"/>
                </a:solidFill>
                <a:cs typeface="Angsana New" pitchFamily="18" charset="-34"/>
              </a:rPr>
              <a:t> floor</a:t>
            </a:r>
          </a:p>
          <a:p>
            <a:pPr eaLnBrk="1" fontAlgn="auto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kern="0" dirty="0" smtClean="0">
                <a:solidFill>
                  <a:srgbClr val="FFFFFF"/>
                </a:solidFill>
                <a:cs typeface="Angsana New" pitchFamily="18" charset="-34"/>
              </a:rPr>
              <a:t>South </a:t>
            </a:r>
            <a:r>
              <a:rPr lang="en-US" sz="2400" b="1" kern="0" dirty="0" err="1" smtClean="0">
                <a:solidFill>
                  <a:srgbClr val="FFFFFF"/>
                </a:solidFill>
                <a:cs typeface="Angsana New" pitchFamily="18" charset="-34"/>
              </a:rPr>
              <a:t>Sathorn</a:t>
            </a:r>
            <a:r>
              <a:rPr lang="en-US" sz="2400" b="1" kern="0" dirty="0" smtClean="0">
                <a:solidFill>
                  <a:srgbClr val="FFFFFF"/>
                </a:solidFill>
                <a:cs typeface="Angsana New" pitchFamily="18" charset="-34"/>
              </a:rPr>
              <a:t> Rd. Bangkok</a:t>
            </a:r>
          </a:p>
        </p:txBody>
      </p:sp>
      <p:pic>
        <p:nvPicPr>
          <p:cNvPr id="46088" name="Picture 1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1738" y="1198563"/>
            <a:ext cx="3732212" cy="249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8"/>
          <p:cNvSpPr>
            <a:spLocks noChangeArrowheads="1"/>
          </p:cNvSpPr>
          <p:nvPr/>
        </p:nvSpPr>
        <p:spPr bwMode="auto">
          <a:xfrm>
            <a:off x="5011738" y="2778125"/>
            <a:ext cx="3725862" cy="915988"/>
          </a:xfrm>
          <a:prstGeom prst="rect">
            <a:avLst/>
          </a:prstGeom>
          <a:gradFill rotWithShape="1">
            <a:gsLst>
              <a:gs pos="0">
                <a:srgbClr val="000000">
                  <a:alpha val="0"/>
                </a:srgbClr>
              </a:gs>
              <a:gs pos="100000">
                <a:srgbClr val="000000">
                  <a:gamma/>
                  <a:shade val="31765"/>
                  <a:invGamma/>
                  <a:alpha val="73000"/>
                </a:srgb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rgbClr val="FFFFFF"/>
              </a:solidFill>
              <a:latin typeface="CorpoS" pitchFamily="2" charset="0"/>
              <a:ea typeface="MS PGothic" pitchFamily="34" charset="-128"/>
            </a:endParaRPr>
          </a:p>
        </p:txBody>
      </p:sp>
      <p:sp>
        <p:nvSpPr>
          <p:cNvPr id="15" name="Rectangle 37"/>
          <p:cNvSpPr>
            <a:spLocks noChangeArrowheads="1"/>
          </p:cNvSpPr>
          <p:nvPr/>
        </p:nvSpPr>
        <p:spPr bwMode="auto">
          <a:xfrm>
            <a:off x="4997450" y="2540000"/>
            <a:ext cx="3732213" cy="1200150"/>
          </a:xfrm>
          <a:prstGeom prst="rect">
            <a:avLst/>
          </a:prstGeom>
          <a:noFill/>
          <a:ln>
            <a:noFill/>
          </a:ln>
          <a:effectLst>
            <a:outerShdw dist="17961" dir="2700000" algn="ctr" rotWithShape="0">
              <a:srgbClr val="00000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kern="0" dirty="0">
                <a:solidFill>
                  <a:srgbClr val="FFFFFF"/>
                </a:solidFill>
                <a:latin typeface="CorpoS" pitchFamily="2" charset="0"/>
                <a:ea typeface="MS PGothic" pitchFamily="34" charset="-128"/>
              </a:rPr>
              <a:t>TAAP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kern="0" dirty="0" err="1">
                <a:solidFill>
                  <a:srgbClr val="FFFFFF"/>
                </a:solidFill>
                <a:latin typeface="CorpoS" pitchFamily="2" charset="0"/>
                <a:ea typeface="MS PGothic" pitchFamily="34" charset="-128"/>
              </a:rPr>
              <a:t>Thonburi</a:t>
            </a:r>
            <a:r>
              <a:rPr lang="en-US" b="1" kern="0" dirty="0">
                <a:solidFill>
                  <a:srgbClr val="FFFFFF"/>
                </a:solidFill>
                <a:latin typeface="CorpoS" pitchFamily="2" charset="0"/>
                <a:ea typeface="MS PGothic" pitchFamily="34" charset="-128"/>
              </a:rPr>
              <a:t> Automotive Assembly Plant CKD Plant in </a:t>
            </a:r>
            <a:r>
              <a:rPr lang="en-US" b="1" kern="0" dirty="0" err="1">
                <a:solidFill>
                  <a:srgbClr val="FFFFFF"/>
                </a:solidFill>
                <a:latin typeface="CorpoS" pitchFamily="2" charset="0"/>
                <a:ea typeface="MS PGothic" pitchFamily="34" charset="-128"/>
              </a:rPr>
              <a:t>Samutprakarn</a:t>
            </a:r>
            <a:r>
              <a:rPr lang="en-US" b="1" kern="0" dirty="0">
                <a:solidFill>
                  <a:srgbClr val="FFFFFF"/>
                </a:solidFill>
                <a:latin typeface="CorpoS" pitchFamily="2" charset="0"/>
                <a:ea typeface="MS PGothic" pitchFamily="34" charset="-128"/>
              </a:rPr>
              <a:t> Thailand </a:t>
            </a:r>
          </a:p>
        </p:txBody>
      </p:sp>
      <p:pic>
        <p:nvPicPr>
          <p:cNvPr id="46091" name="Picture 4" descr="mbcc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1738" y="3787775"/>
            <a:ext cx="3732212" cy="2381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38"/>
          <p:cNvSpPr>
            <a:spLocks noChangeArrowheads="1"/>
          </p:cNvSpPr>
          <p:nvPr/>
        </p:nvSpPr>
        <p:spPr bwMode="auto">
          <a:xfrm>
            <a:off x="5011738" y="5000625"/>
            <a:ext cx="3732212" cy="1200150"/>
          </a:xfrm>
          <a:prstGeom prst="rect">
            <a:avLst/>
          </a:prstGeom>
          <a:noFill/>
          <a:ln>
            <a:noFill/>
          </a:ln>
          <a:effectLst>
            <a:outerShdw dist="17961" dir="2700000" algn="ctr" rotWithShape="0">
              <a:srgbClr val="00000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kern="0" dirty="0">
                <a:solidFill>
                  <a:srgbClr val="FFFFFF"/>
                </a:solidFill>
                <a:latin typeface="CorpoS" pitchFamily="2" charset="0"/>
                <a:ea typeface="MS PGothic" pitchFamily="34" charset="-128"/>
              </a:rPr>
              <a:t>MBCC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kern="0" dirty="0">
                <a:solidFill>
                  <a:srgbClr val="FFFFFF"/>
                </a:solidFill>
                <a:latin typeface="CorpoS" pitchFamily="2" charset="0"/>
                <a:ea typeface="MS PGothic" pitchFamily="34" charset="-128"/>
              </a:rPr>
              <a:t>Mercedes-Benz Competence Center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kern="0" dirty="0">
                <a:solidFill>
                  <a:srgbClr val="FFFFFF"/>
                </a:solidFill>
                <a:latin typeface="CorpoS" pitchFamily="2" charset="0"/>
                <a:ea typeface="MS PGothic" pitchFamily="34" charset="-128"/>
              </a:rPr>
              <a:t>19th km on </a:t>
            </a:r>
            <a:r>
              <a:rPr lang="en-US" b="1" kern="0" dirty="0" err="1">
                <a:solidFill>
                  <a:srgbClr val="FFFFFF"/>
                </a:solidFill>
                <a:latin typeface="CorpoS" pitchFamily="2" charset="0"/>
                <a:ea typeface="MS PGothic" pitchFamily="34" charset="-128"/>
              </a:rPr>
              <a:t>Bangna-Trad</a:t>
            </a:r>
            <a:r>
              <a:rPr lang="en-US" b="1" kern="0" dirty="0">
                <a:solidFill>
                  <a:srgbClr val="FFFFFF"/>
                </a:solidFill>
                <a:latin typeface="CorpoS" pitchFamily="2" charset="0"/>
                <a:ea typeface="MS PGothic" pitchFamily="34" charset="-128"/>
              </a:rPr>
              <a:t> Rd. </a:t>
            </a:r>
            <a:br>
              <a:rPr lang="en-US" b="1" kern="0" dirty="0">
                <a:solidFill>
                  <a:srgbClr val="FFFFFF"/>
                </a:solidFill>
                <a:latin typeface="CorpoS" pitchFamily="2" charset="0"/>
                <a:ea typeface="MS PGothic" pitchFamily="34" charset="-128"/>
              </a:rPr>
            </a:br>
            <a:r>
              <a:rPr lang="en-US" b="1" kern="0" dirty="0">
                <a:solidFill>
                  <a:srgbClr val="FFFFFF"/>
                </a:solidFill>
                <a:latin typeface="CorpoS" pitchFamily="2" charset="0"/>
                <a:ea typeface="MS PGothic" pitchFamily="34" charset="-128"/>
              </a:rPr>
              <a:t>Bangkok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56D4190-553A-402D-AAA6-1CC8E35BECCD}" type="slidenum">
              <a:rPr lang="en-US" b="1" smtClean="0">
                <a:solidFill>
                  <a:srgbClr val="000000"/>
                </a:solidFill>
              </a:rPr>
              <a:pPr>
                <a:defRPr/>
              </a:pPr>
              <a:t>3</a:t>
            </a:fld>
            <a:endParaRPr lang="en-US" b="1" dirty="0">
              <a:solidFill>
                <a:srgbClr val="000000"/>
              </a:solidFill>
            </a:endParaRPr>
          </a:p>
        </p:txBody>
      </p:sp>
      <p:sp>
        <p:nvSpPr>
          <p:cNvPr id="28" name="Title 1"/>
          <p:cNvSpPr txBox="1">
            <a:spLocks noGrp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395288" y="366713"/>
            <a:ext cx="8348662" cy="4985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lnSpc>
                <a:spcPct val="108000"/>
              </a:lnSpc>
              <a:spcAft>
                <a:spcPts val="1008"/>
              </a:spcAft>
              <a:defRPr sz="3000">
                <a:latin typeface="+mj-lt"/>
                <a:cs typeface="Angsana New" panose="02020603050405020304" pitchFamily="18" charset="-34"/>
              </a:defRPr>
            </a:lvl1pPr>
          </a:lstStyle>
          <a:p>
            <a:r>
              <a:rPr lang="en-GB" dirty="0" smtClean="0"/>
              <a:t>Profile Daimler Group Thailand - Location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4596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39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364" t="32275" r="63478" b="47202"/>
          <a:stretch>
            <a:fillRect/>
          </a:stretch>
        </p:blipFill>
        <p:spPr bwMode="auto">
          <a:xfrm>
            <a:off x="6189663" y="1731963"/>
            <a:ext cx="2000250" cy="1146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39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69" t="32036" r="43478" b="46802"/>
          <a:stretch>
            <a:fillRect/>
          </a:stretch>
        </p:blipFill>
        <p:spPr bwMode="auto">
          <a:xfrm>
            <a:off x="646113" y="2852738"/>
            <a:ext cx="1979612" cy="1176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39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853" t="55727" r="43059" b="25259"/>
          <a:stretch>
            <a:fillRect/>
          </a:stretch>
        </p:blipFill>
        <p:spPr bwMode="auto">
          <a:xfrm>
            <a:off x="646113" y="4117975"/>
            <a:ext cx="1979612" cy="105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399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766" t="33319" r="42880" b="46617"/>
          <a:stretch>
            <a:fillRect/>
          </a:stretch>
        </p:blipFill>
        <p:spPr bwMode="auto">
          <a:xfrm>
            <a:off x="4103688" y="1773238"/>
            <a:ext cx="1949450" cy="1079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40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06" t="55093" r="63879" b="24635"/>
          <a:stretch>
            <a:fillRect/>
          </a:stretch>
        </p:blipFill>
        <p:spPr bwMode="auto">
          <a:xfrm>
            <a:off x="4103688" y="2944813"/>
            <a:ext cx="1949450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401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584" t="33157" r="43118" b="47037"/>
          <a:stretch>
            <a:fillRect/>
          </a:stretch>
        </p:blipFill>
        <p:spPr bwMode="auto">
          <a:xfrm>
            <a:off x="6135688" y="2944813"/>
            <a:ext cx="2054225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402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387" t="33157" r="16685" b="47037"/>
          <a:stretch>
            <a:fillRect/>
          </a:stretch>
        </p:blipFill>
        <p:spPr bwMode="auto">
          <a:xfrm>
            <a:off x="646113" y="5280025"/>
            <a:ext cx="1979612" cy="1106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403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77" t="55727" r="63541" b="25259"/>
          <a:stretch>
            <a:fillRect/>
          </a:stretch>
        </p:blipFill>
        <p:spPr bwMode="auto">
          <a:xfrm>
            <a:off x="665163" y="1773238"/>
            <a:ext cx="1960562" cy="1023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9404" name="Rectangle 2"/>
          <p:cNvSpPr txBox="1">
            <a:spLocks noChangeArrowheads="1"/>
          </p:cNvSpPr>
          <p:nvPr/>
        </p:nvSpPr>
        <p:spPr bwMode="auto">
          <a:xfrm>
            <a:off x="382588" y="1196975"/>
            <a:ext cx="3629025" cy="900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r>
              <a:rPr lang="en-US" sz="2400" b="0">
                <a:solidFill>
                  <a:srgbClr val="009CD9"/>
                </a:solidFill>
              </a:rPr>
              <a:t>Local Production (CKD)</a:t>
            </a:r>
            <a:endParaRPr lang="de-DE" sz="2400" b="0">
              <a:solidFill>
                <a:srgbClr val="009CD9"/>
              </a:solidFill>
            </a:endParaRPr>
          </a:p>
        </p:txBody>
      </p:sp>
      <p:sp>
        <p:nvSpPr>
          <p:cNvPr id="59405" name="Rectangle 2"/>
          <p:cNvSpPr txBox="1">
            <a:spLocks noChangeArrowheads="1"/>
          </p:cNvSpPr>
          <p:nvPr/>
        </p:nvSpPr>
        <p:spPr bwMode="auto">
          <a:xfrm>
            <a:off x="4083050" y="1196975"/>
            <a:ext cx="4341813" cy="900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r>
              <a:rPr lang="en-US" sz="2400" b="0">
                <a:solidFill>
                  <a:srgbClr val="009CD9"/>
                </a:solidFill>
              </a:rPr>
              <a:t>Import Completely Built Up (CBU)</a:t>
            </a:r>
            <a:endParaRPr lang="de-DE" sz="2400" b="0">
              <a:solidFill>
                <a:srgbClr val="009CD9"/>
              </a:solidFill>
            </a:endParaRPr>
          </a:p>
        </p:txBody>
      </p:sp>
      <p:pic>
        <p:nvPicPr>
          <p:cNvPr id="59406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766" t="55057" r="42880" b="24635"/>
          <a:stretch>
            <a:fillRect/>
          </a:stretch>
        </p:blipFill>
        <p:spPr bwMode="auto">
          <a:xfrm>
            <a:off x="4103688" y="4154488"/>
            <a:ext cx="1949450" cy="1093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407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06" t="33319" r="63879" b="46950"/>
          <a:stretch>
            <a:fillRect/>
          </a:stretch>
        </p:blipFill>
        <p:spPr bwMode="auto">
          <a:xfrm>
            <a:off x="4103688" y="5332413"/>
            <a:ext cx="1949450" cy="1096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408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358" t="32687" r="16589" b="46149"/>
          <a:stretch>
            <a:fillRect/>
          </a:stretch>
        </p:blipFill>
        <p:spPr bwMode="auto">
          <a:xfrm>
            <a:off x="6189663" y="4149725"/>
            <a:ext cx="1979612" cy="1174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409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753" t="32700" r="16893" b="46992"/>
          <a:stretch>
            <a:fillRect/>
          </a:stretch>
        </p:blipFill>
        <p:spPr bwMode="auto">
          <a:xfrm>
            <a:off x="6146800" y="5338763"/>
            <a:ext cx="1947863" cy="1092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56D4190-553A-402D-AAA6-1CC8E35BECCD}" type="slidenum">
              <a:rPr lang="en-US" b="1" smtClean="0">
                <a:solidFill>
                  <a:srgbClr val="000000"/>
                </a:solidFill>
              </a:rPr>
              <a:pPr>
                <a:defRPr/>
              </a:pPr>
              <a:t>4</a:t>
            </a:fld>
            <a:endParaRPr lang="en-US" b="1">
              <a:solidFill>
                <a:srgbClr val="000000"/>
              </a:solidFill>
            </a:endParaRPr>
          </a:p>
        </p:txBody>
      </p:sp>
      <p:sp>
        <p:nvSpPr>
          <p:cNvPr id="21" name="Title 1"/>
          <p:cNvSpPr txBox="1">
            <a:spLocks noGrp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395288" y="366713"/>
            <a:ext cx="8348662" cy="4985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lnSpc>
                <a:spcPct val="108000"/>
              </a:lnSpc>
              <a:spcAft>
                <a:spcPts val="1008"/>
              </a:spcAft>
              <a:defRPr sz="3000">
                <a:latin typeface="+mj-lt"/>
                <a:cs typeface="Angsana New" panose="02020603050405020304" pitchFamily="18" charset="-34"/>
              </a:defRPr>
            </a:lvl1pPr>
          </a:lstStyle>
          <a:p>
            <a:r>
              <a:rPr lang="en-GB" dirty="0" smtClean="0"/>
              <a:t>Profile Daimler Group Thailand - Product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0147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37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313" y="1516063"/>
            <a:ext cx="8439150" cy="4687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56D4190-553A-402D-AAA6-1CC8E35BECCD}" type="slidenum">
              <a:rPr lang="en-US" b="1" smtClean="0">
                <a:solidFill>
                  <a:srgbClr val="000000"/>
                </a:solidFill>
              </a:rPr>
              <a:pPr>
                <a:defRPr/>
              </a:pPr>
              <a:t>5</a:t>
            </a:fld>
            <a:endParaRPr lang="en-US" b="1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431801" y="411055"/>
            <a:ext cx="8348662" cy="498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l" rtl="0" eaLnBrk="0" fontAlgn="base" hangingPunct="0">
              <a:lnSpc>
                <a:spcPct val="108000"/>
              </a:lnSpc>
              <a:spcBef>
                <a:spcPct val="0"/>
              </a:spcBef>
              <a:spcAft>
                <a:spcPts val="1008"/>
              </a:spcAft>
              <a:defRPr sz="3000">
                <a:solidFill>
                  <a:schemeClr val="tx1"/>
                </a:solidFill>
                <a:latin typeface="+mj-lt"/>
                <a:ea typeface="+mj-ea"/>
                <a:cs typeface="Angsana New" panose="02020603050405020304" pitchFamily="18" charset="-34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CorpoA" pitchFamily="2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CorpoA" pitchFamily="2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CorpoA" pitchFamily="2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CorpoA" pitchFamily="2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CorpoA" pitchFamily="2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CorpoA" pitchFamily="2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CorpoA" pitchFamily="2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1"/>
                </a:solidFill>
                <a:latin typeface="CorpoA" pitchFamily="2" charset="0"/>
                <a:cs typeface="Arial" charset="0"/>
              </a:defRPr>
            </a:lvl9pPr>
          </a:lstStyle>
          <a:p>
            <a:r>
              <a:rPr lang="en-GB" kern="0" dirty="0" smtClean="0"/>
              <a:t>Profile Daimler Group Thailand – Dealer Network</a:t>
            </a:r>
            <a:endParaRPr lang="en-GB" kern="0" dirty="0"/>
          </a:p>
        </p:txBody>
      </p:sp>
    </p:spTree>
    <p:extLst>
      <p:ext uri="{BB962C8B-B14F-4D97-AF65-F5344CB8AC3E}">
        <p14:creationId xmlns:p14="http://schemas.microsoft.com/office/powerpoint/2010/main" val="3554191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95287" y="409917"/>
            <a:ext cx="7624588" cy="4637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en-US" sz="3000" dirty="0" smtClean="0">
                <a:latin typeface="+mj-lt"/>
                <a:cs typeface="Angsana New" panose="02020603050405020304" pitchFamily="18" charset="-34"/>
              </a:rPr>
              <a:t>Sales Situation - Retail sales MB Thailand</a:t>
            </a:r>
          </a:p>
        </p:txBody>
      </p:sp>
      <p:pic>
        <p:nvPicPr>
          <p:cNvPr id="634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2510" y="1782937"/>
            <a:ext cx="6217363" cy="42950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Gleichschenkliges Dreieck 16"/>
          <p:cNvSpPr/>
          <p:nvPr/>
        </p:nvSpPr>
        <p:spPr>
          <a:xfrm rot="5400000">
            <a:off x="504938" y="1278674"/>
            <a:ext cx="265869" cy="158103"/>
          </a:xfrm>
          <a:prstGeom prst="triangl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feld 22"/>
          <p:cNvSpPr txBox="1"/>
          <p:nvPr/>
        </p:nvSpPr>
        <p:spPr>
          <a:xfrm>
            <a:off x="395287" y="1191235"/>
            <a:ext cx="6481646" cy="273921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dirty="0" smtClean="0">
                <a:latin typeface="+mn-lt"/>
              </a:rPr>
              <a:t>      MB Thailand with very promising outlook for 2013: &gt;50% growths</a:t>
            </a:r>
            <a:br>
              <a:rPr lang="en-US" dirty="0" smtClean="0">
                <a:latin typeface="+mn-lt"/>
              </a:rPr>
            </a:br>
            <a:endParaRPr lang="en-US" dirty="0">
              <a:latin typeface="+mn-lt"/>
            </a:endParaRPr>
          </a:p>
          <a:p>
            <a:pPr marL="285750" indent="158750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68288" algn="l"/>
                <a:tab pos="628650" algn="l"/>
              </a:tabLst>
            </a:pPr>
            <a:r>
              <a:rPr lang="en-US" dirty="0">
                <a:latin typeface="+mn-lt"/>
              </a:rPr>
              <a:t>	</a:t>
            </a:r>
            <a:r>
              <a:rPr lang="en-US" dirty="0" smtClean="0">
                <a:latin typeface="+mn-lt"/>
              </a:rPr>
              <a:t>Product Offensive with compact cars </a:t>
            </a:r>
            <a:br>
              <a:rPr lang="en-US" dirty="0" smtClean="0">
                <a:latin typeface="+mn-lt"/>
              </a:rPr>
            </a:br>
            <a:r>
              <a:rPr lang="en-US" dirty="0" smtClean="0">
                <a:latin typeface="+mn-lt"/>
              </a:rPr>
              <a:t>	and new SKD models (M-Class)</a:t>
            </a:r>
          </a:p>
          <a:p>
            <a:pPr marL="285750" indent="158750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68288" algn="l"/>
                <a:tab pos="628650" algn="l"/>
              </a:tabLst>
            </a:pPr>
            <a:r>
              <a:rPr lang="en-US" dirty="0">
                <a:latin typeface="+mn-lt"/>
              </a:rPr>
              <a:t>	</a:t>
            </a:r>
            <a:r>
              <a:rPr lang="en-US" dirty="0" smtClean="0">
                <a:latin typeface="+mn-lt"/>
              </a:rPr>
              <a:t>Fast start in the year with +41% YTD April</a:t>
            </a:r>
          </a:p>
          <a:p>
            <a:pPr marL="285750" indent="158750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268288" algn="l"/>
                <a:tab pos="628650" algn="l"/>
              </a:tabLst>
            </a:pPr>
            <a:r>
              <a:rPr lang="en-US" dirty="0">
                <a:latin typeface="+mn-lt"/>
              </a:rPr>
              <a:t> </a:t>
            </a:r>
            <a:r>
              <a:rPr lang="en-US" dirty="0" smtClean="0">
                <a:latin typeface="+mn-lt"/>
              </a:rPr>
              <a:t>	Record Order intake at Bangkok </a:t>
            </a:r>
            <a:br>
              <a:rPr lang="en-US" dirty="0" smtClean="0">
                <a:latin typeface="+mn-lt"/>
              </a:rPr>
            </a:br>
            <a:r>
              <a:rPr lang="en-US" dirty="0" smtClean="0">
                <a:latin typeface="+mn-lt"/>
              </a:rPr>
              <a:t> 	International Motor Show</a:t>
            </a:r>
            <a:br>
              <a:rPr lang="en-US" dirty="0" smtClean="0">
                <a:latin typeface="+mn-lt"/>
              </a:rPr>
            </a:br>
            <a:endParaRPr lang="en-US" sz="1600" i="1" dirty="0">
              <a:latin typeface="+mn-lt"/>
            </a:endParaRP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85725" y="6548438"/>
            <a:ext cx="252413" cy="306387"/>
          </a:xfrm>
        </p:spPr>
        <p:txBody>
          <a:bodyPr/>
          <a:lstStyle/>
          <a:p>
            <a:pPr>
              <a:defRPr/>
            </a:pPr>
            <a:fld id="{E56D4190-553A-402D-AAA6-1CC8E35BECCD}" type="slidenum">
              <a:rPr lang="en-US" b="1" smtClean="0">
                <a:solidFill>
                  <a:srgbClr val="000000"/>
                </a:solidFill>
              </a:rPr>
              <a:pPr>
                <a:defRPr/>
              </a:pPr>
              <a:t>6</a:t>
            </a:fld>
            <a:endParaRPr lang="en-US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048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23" name="Object 35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3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428165" y="1052513"/>
            <a:ext cx="8320548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2400" kern="1500" dirty="0" smtClean="0">
                <a:effectLst/>
                <a:latin typeface="+mn-lt"/>
              </a:rPr>
              <a:t>During Bangkok International Motor Show highest order intake during a motor show was recorded – against market trend</a:t>
            </a:r>
            <a:endParaRPr lang="en-US" sz="2400" kern="1500" dirty="0">
              <a:effectLst/>
              <a:latin typeface="+mn-lt"/>
            </a:endParaRPr>
          </a:p>
        </p:txBody>
      </p:sp>
      <p:pic>
        <p:nvPicPr>
          <p:cNvPr id="8" name="Picture 6" descr="C:\Users\masc218\AppData\Local\Microsoft\Windows\Temporary Internet Files\Content.Outlook\7CTD97ON\600_6693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260" y="1880828"/>
            <a:ext cx="8292690" cy="4603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6687750"/>
              </p:ext>
            </p:extLst>
          </p:nvPr>
        </p:nvGraphicFramePr>
        <p:xfrm>
          <a:off x="6682556" y="2024856"/>
          <a:ext cx="1957896" cy="304800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188132"/>
                <a:gridCol w="769764"/>
              </a:tblGrid>
              <a:tr h="162017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Type</a:t>
                      </a:r>
                      <a:r>
                        <a:rPr lang="en-US" sz="1400" baseline="0" dirty="0" smtClean="0"/>
                        <a:t> Clas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Orders</a:t>
                      </a:r>
                      <a:endParaRPr lang="en-US" sz="1400" dirty="0"/>
                    </a:p>
                  </a:txBody>
                  <a:tcPr/>
                </a:tc>
              </a:tr>
              <a:tr h="162017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A-Class</a:t>
                      </a:r>
                      <a:endParaRPr lang="en-US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210</a:t>
                      </a:r>
                      <a:endParaRPr lang="en-US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162017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C-Class</a:t>
                      </a:r>
                      <a:endParaRPr lang="en-US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307</a:t>
                      </a:r>
                      <a:endParaRPr lang="en-US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162017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C-Coupe</a:t>
                      </a:r>
                      <a:endParaRPr lang="en-US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71</a:t>
                      </a:r>
                      <a:endParaRPr lang="en-US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162017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SLK</a:t>
                      </a:r>
                      <a:endParaRPr lang="en-US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103</a:t>
                      </a:r>
                      <a:endParaRPr lang="en-US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162017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-Class FL</a:t>
                      </a:r>
                      <a:endParaRPr lang="en-US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698</a:t>
                      </a:r>
                      <a:endParaRPr lang="en-US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162017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CLS (</a:t>
                      </a:r>
                      <a:r>
                        <a:rPr lang="en-US" sz="1400" dirty="0" err="1" smtClean="0"/>
                        <a:t>incl</a:t>
                      </a:r>
                      <a:r>
                        <a:rPr lang="en-US" sz="1400" dirty="0" smtClean="0"/>
                        <a:t> SB)</a:t>
                      </a:r>
                      <a:endParaRPr lang="en-US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87</a:t>
                      </a:r>
                      <a:endParaRPr lang="en-US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162017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M-Class</a:t>
                      </a:r>
                      <a:endParaRPr lang="en-US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107</a:t>
                      </a:r>
                      <a:endParaRPr lang="en-US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162017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S-Class</a:t>
                      </a:r>
                      <a:endParaRPr lang="en-US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41</a:t>
                      </a:r>
                      <a:endParaRPr lang="en-US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162017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TOTAL</a:t>
                      </a:r>
                      <a:endParaRPr lang="en-US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1,776</a:t>
                      </a:r>
                      <a:endParaRPr lang="en-US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7416653"/>
              </p:ext>
            </p:extLst>
          </p:nvPr>
        </p:nvGraphicFramePr>
        <p:xfrm>
          <a:off x="503927" y="1990737"/>
          <a:ext cx="3234478" cy="234696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864096"/>
                <a:gridCol w="864096"/>
                <a:gridCol w="828092"/>
                <a:gridCol w="678194"/>
              </a:tblGrid>
              <a:tr h="163218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n-lt"/>
                        </a:rPr>
                        <a:t>Brand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latin typeface="+mn-lt"/>
                        </a:rPr>
                        <a:t>Orders EXPO 12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>
                          <a:latin typeface="+mn-lt"/>
                        </a:rPr>
                        <a:t>Orders BIMS 13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n-lt"/>
                        </a:rPr>
                        <a:t>Diff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anchor="ctr"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n-lt"/>
                        </a:rPr>
                        <a:t>Toyota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,878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,34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-45%</a:t>
                      </a:r>
                      <a:endParaRPr lang="en-US" sz="14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n-lt"/>
                        </a:rPr>
                        <a:t>Honda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,29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,788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-60%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n-lt"/>
                        </a:rPr>
                        <a:t>Ford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,68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88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-67%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n-lt"/>
                        </a:rPr>
                        <a:t>Chevrolet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21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95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-39%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n-lt"/>
                        </a:rPr>
                        <a:t>BMW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29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/A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en-US" sz="1400" b="0" i="0" u="none" strike="noStrike" dirty="0">
                        <a:solidFill>
                          <a:schemeClr val="accent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n-lt"/>
                        </a:rPr>
                        <a:t>MB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58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77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12%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1" name="TextBox 4"/>
          <p:cNvSpPr txBox="1"/>
          <p:nvPr/>
        </p:nvSpPr>
        <p:spPr>
          <a:xfrm>
            <a:off x="395287" y="409917"/>
            <a:ext cx="7624588" cy="4985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en-US" sz="3000" dirty="0" smtClean="0">
                <a:latin typeface="+mj-lt"/>
                <a:cs typeface="Angsana New" panose="02020603050405020304" pitchFamily="18" charset="-34"/>
              </a:rPr>
              <a:t>Sales Situation – Bangkok Motor Show 2013</a:t>
            </a:r>
          </a:p>
        </p:txBody>
      </p:sp>
      <p:sp>
        <p:nvSpPr>
          <p:cNvPr id="1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85725" y="6548438"/>
            <a:ext cx="252413" cy="306387"/>
          </a:xfrm>
        </p:spPr>
        <p:txBody>
          <a:bodyPr/>
          <a:lstStyle/>
          <a:p>
            <a:pPr>
              <a:defRPr/>
            </a:pPr>
            <a:fld id="{E56D4190-553A-402D-AAA6-1CC8E35BECCD}" type="slidenum">
              <a:rPr lang="en-US" b="1" smtClean="0">
                <a:solidFill>
                  <a:srgbClr val="000000"/>
                </a:solidFill>
              </a:rPr>
              <a:pPr>
                <a:defRPr/>
              </a:pPr>
              <a:t>7</a:t>
            </a:fld>
            <a:endParaRPr lang="en-US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3779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24" name="Rectangle 4"/>
          <p:cNvSpPr>
            <a:spLocks noGrp="1" noChangeArrowheads="1"/>
          </p:cNvSpPr>
          <p:nvPr>
            <p:ph type="dt" sz="quarter" idx="4294967295"/>
          </p:nvPr>
        </p:nvSpPr>
        <p:spPr>
          <a:xfrm>
            <a:off x="6253163" y="6548438"/>
            <a:ext cx="766762" cy="306387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fld id="{C21043D1-19EE-4D75-AA65-8568AF638F2E}" type="datetime3">
              <a:rPr lang="de-DE" smtClean="0">
                <a:cs typeface="Arial" charset="0"/>
              </a:rPr>
              <a:pPr/>
              <a:t>24/05/13</a:t>
            </a:fld>
            <a:endParaRPr lang="de-DE" smtClean="0">
              <a:cs typeface="Arial" charset="0"/>
            </a:endParaRPr>
          </a:p>
        </p:txBody>
      </p:sp>
      <p:graphicFrame>
        <p:nvGraphicFramePr>
          <p:cNvPr id="3423" name="Object 35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1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338138" y="1307410"/>
            <a:ext cx="8092798" cy="449353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800" kern="1500" dirty="0" smtClean="0">
                <a:latin typeface="+mn-lt"/>
              </a:rPr>
              <a:t>Grey market significantly developed as from </a:t>
            </a:r>
            <a:br>
              <a:rPr lang="en-US" sz="1800" kern="1500" dirty="0" smtClean="0">
                <a:latin typeface="+mn-lt"/>
              </a:rPr>
            </a:br>
            <a:r>
              <a:rPr lang="en-US" sz="1800" kern="1500" dirty="0" smtClean="0">
                <a:latin typeface="+mn-lt"/>
              </a:rPr>
              <a:t>2010 and even exceeding official MB sales in 2012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kern="1500" dirty="0" smtClean="0">
                <a:latin typeface="+mn-lt"/>
              </a:rPr>
              <a:t>Grey network has well established by end of 2012</a:t>
            </a:r>
            <a:br>
              <a:rPr lang="en-US" kern="1500" dirty="0" smtClean="0">
                <a:latin typeface="+mn-lt"/>
              </a:rPr>
            </a:br>
            <a:r>
              <a:rPr lang="en-US" kern="1500" dirty="0" smtClean="0">
                <a:latin typeface="+mn-lt"/>
              </a:rPr>
              <a:t>with more than 200 outlets 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kern="1500" dirty="0" smtClean="0">
                <a:latin typeface="+mn-lt"/>
              </a:rPr>
              <a:t>Numerous countermeasures taken by </a:t>
            </a:r>
            <a:br>
              <a:rPr lang="en-US" kern="1500" dirty="0" smtClean="0">
                <a:latin typeface="+mn-lt"/>
              </a:rPr>
            </a:br>
            <a:r>
              <a:rPr lang="en-US" kern="1500" dirty="0" smtClean="0">
                <a:latin typeface="+mn-lt"/>
              </a:rPr>
              <a:t>Daimler in 2012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kern="1500" dirty="0" smtClean="0">
                <a:latin typeface="+mn-lt"/>
              </a:rPr>
              <a:t>Fruitful dialogue with Thai authorities and  </a:t>
            </a:r>
            <a:r>
              <a:rPr lang="en-US" kern="1500" dirty="0">
                <a:latin typeface="+mn-lt"/>
              </a:rPr>
              <a:t/>
            </a:r>
            <a:br>
              <a:rPr lang="en-US" kern="1500" dirty="0">
                <a:latin typeface="+mn-lt"/>
              </a:rPr>
            </a:br>
            <a:r>
              <a:rPr lang="en-US" kern="1500" dirty="0" smtClean="0">
                <a:latin typeface="+mn-lt"/>
              </a:rPr>
              <a:t>Anti Corruption Commission until end of 2012.</a:t>
            </a:r>
            <a:br>
              <a:rPr lang="en-US" kern="1500" dirty="0" smtClean="0">
                <a:latin typeface="+mn-lt"/>
              </a:rPr>
            </a:br>
            <a:endParaRPr lang="en-US" kern="1500" dirty="0" smtClean="0">
              <a:latin typeface="+mn-lt"/>
            </a:endParaRP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kern="1500" dirty="0" smtClean="0">
                <a:latin typeface="+mn-lt"/>
              </a:rPr>
              <a:t>Thus, grey market still present in 2013.</a:t>
            </a:r>
            <a:br>
              <a:rPr lang="en-US" kern="1500" dirty="0" smtClean="0">
                <a:latin typeface="+mn-lt"/>
              </a:rPr>
            </a:br>
            <a:r>
              <a:rPr lang="en-US" kern="1500" dirty="0" smtClean="0">
                <a:latin typeface="+mn-lt"/>
              </a:rPr>
              <a:t>Currently &gt;2.000 grey vehicles at customs </a:t>
            </a:r>
            <a:br>
              <a:rPr lang="en-US" kern="1500" dirty="0" smtClean="0">
                <a:latin typeface="+mn-lt"/>
              </a:rPr>
            </a:br>
            <a:r>
              <a:rPr lang="en-US" kern="1500" dirty="0" smtClean="0">
                <a:latin typeface="+mn-lt"/>
              </a:rPr>
              <a:t>to be released by June.</a:t>
            </a:r>
            <a:br>
              <a:rPr lang="en-US" kern="1500" dirty="0" smtClean="0">
                <a:latin typeface="+mn-lt"/>
              </a:rPr>
            </a:br>
            <a:r>
              <a:rPr lang="en-US" kern="1500" dirty="0" smtClean="0">
                <a:latin typeface="+mn-lt"/>
              </a:rPr>
              <a:t/>
            </a:r>
            <a:br>
              <a:rPr lang="en-US" kern="1500" dirty="0" smtClean="0">
                <a:latin typeface="+mn-lt"/>
              </a:rPr>
            </a:br>
            <a:endParaRPr lang="en-US" sz="1800" kern="1500" dirty="0" smtClean="0">
              <a:latin typeface="+mn-lt"/>
            </a:endParaRPr>
          </a:p>
        </p:txBody>
      </p:sp>
      <p:pic>
        <p:nvPicPr>
          <p:cNvPr id="59394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7581" y="1428437"/>
            <a:ext cx="4687795" cy="42226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9" name="Gleichschenkliges Dreieck 8"/>
          <p:cNvSpPr/>
          <p:nvPr/>
        </p:nvSpPr>
        <p:spPr>
          <a:xfrm rot="5400000">
            <a:off x="338135" y="6108156"/>
            <a:ext cx="265869" cy="158103"/>
          </a:xfrm>
          <a:prstGeom prst="triangl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feld 9"/>
          <p:cNvSpPr txBox="1"/>
          <p:nvPr/>
        </p:nvSpPr>
        <p:spPr>
          <a:xfrm>
            <a:off x="612396" y="6003938"/>
            <a:ext cx="80075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+mn-lt"/>
              </a:rPr>
              <a:t>Further Support by local authorities needed in order to fight tax fraud of grey market</a:t>
            </a:r>
            <a:endParaRPr lang="en-US" sz="1600" i="1" dirty="0">
              <a:latin typeface="+mn-lt"/>
            </a:endParaRPr>
          </a:p>
        </p:txBody>
      </p:sp>
      <p:sp>
        <p:nvSpPr>
          <p:cNvPr id="12" name="TextBox 4"/>
          <p:cNvSpPr txBox="1"/>
          <p:nvPr/>
        </p:nvSpPr>
        <p:spPr>
          <a:xfrm>
            <a:off x="395287" y="409917"/>
            <a:ext cx="7624588" cy="4985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en-US" sz="3000" dirty="0" smtClean="0">
                <a:latin typeface="+mj-lt"/>
                <a:cs typeface="Angsana New" panose="02020603050405020304" pitchFamily="18" charset="-34"/>
              </a:rPr>
              <a:t>Sales Situation – Grey Market</a:t>
            </a:r>
          </a:p>
        </p:txBody>
      </p:sp>
      <p:sp>
        <p:nvSpPr>
          <p:cNvPr id="1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85725" y="6548438"/>
            <a:ext cx="252413" cy="306387"/>
          </a:xfrm>
        </p:spPr>
        <p:txBody>
          <a:bodyPr/>
          <a:lstStyle/>
          <a:p>
            <a:pPr>
              <a:defRPr/>
            </a:pPr>
            <a:fld id="{E56D4190-553A-402D-AAA6-1CC8E35BECCD}" type="slidenum">
              <a:rPr lang="en-US" b="1" smtClean="0">
                <a:solidFill>
                  <a:srgbClr val="000000"/>
                </a:solidFill>
              </a:rPr>
              <a:pPr>
                <a:defRPr/>
              </a:pPr>
              <a:t>8</a:t>
            </a:fld>
            <a:endParaRPr lang="en-US" b="1" dirty="0">
              <a:solidFill>
                <a:srgbClr val="000000"/>
              </a:solidFill>
            </a:endParaRPr>
          </a:p>
        </p:txBody>
      </p:sp>
      <p:sp>
        <p:nvSpPr>
          <p:cNvPr id="2" name="Rechteck 1"/>
          <p:cNvSpPr/>
          <p:nvPr/>
        </p:nvSpPr>
        <p:spPr>
          <a:xfrm>
            <a:off x="7248088" y="1455150"/>
            <a:ext cx="987036" cy="39042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pic>
        <p:nvPicPr>
          <p:cNvPr id="59407" name="Picture 15" descr="http://www.textilcut.de/nomedia_alleSprachen/Bilder/Blitz-gelb.jpg"/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7134" y="1307410"/>
            <a:ext cx="621908" cy="466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2846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95287" y="409917"/>
            <a:ext cx="6743743" cy="4985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en-US" sz="3000" dirty="0" smtClean="0">
                <a:latin typeface="+mj-lt"/>
                <a:cs typeface="Angsana New" panose="02020603050405020304" pitchFamily="18" charset="-34"/>
              </a:rPr>
              <a:t>Strategic Outlook – Key Drivers </a:t>
            </a:r>
          </a:p>
        </p:txBody>
      </p:sp>
      <p:graphicFrame>
        <p:nvGraphicFramePr>
          <p:cNvPr id="4" name="Diagramm 3"/>
          <p:cNvGraphicFramePr/>
          <p:nvPr>
            <p:extLst>
              <p:ext uri="{D42A27DB-BD31-4B8C-83A1-F6EECF244321}">
                <p14:modId xmlns:p14="http://schemas.microsoft.com/office/powerpoint/2010/main" val="1433184433"/>
              </p:ext>
            </p:extLst>
          </p:nvPr>
        </p:nvGraphicFramePr>
        <p:xfrm>
          <a:off x="542489" y="2510661"/>
          <a:ext cx="8070209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Gleichschenkliges Dreieck 16"/>
          <p:cNvSpPr/>
          <p:nvPr/>
        </p:nvSpPr>
        <p:spPr>
          <a:xfrm rot="5400000">
            <a:off x="395881" y="1236729"/>
            <a:ext cx="265869" cy="158103"/>
          </a:xfrm>
          <a:prstGeom prst="triangl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feld 20"/>
          <p:cNvSpPr txBox="1"/>
          <p:nvPr/>
        </p:nvSpPr>
        <p:spPr>
          <a:xfrm>
            <a:off x="275134" y="1110621"/>
            <a:ext cx="8604920" cy="40318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1200"/>
              </a:spcAft>
              <a:tabLst>
                <a:tab pos="360363" algn="l"/>
              </a:tabLst>
            </a:pPr>
            <a:r>
              <a:rPr lang="en-US" dirty="0" smtClean="0">
                <a:latin typeface="+mn-lt"/>
              </a:rPr>
              <a:t>      	Thailand with significant strategic growths potential for Mercedes Benz Passenger Cars</a:t>
            </a:r>
            <a:br>
              <a:rPr lang="en-US" dirty="0" smtClean="0">
                <a:latin typeface="+mn-lt"/>
              </a:rPr>
            </a:br>
            <a:r>
              <a:rPr lang="en-US" dirty="0" smtClean="0">
                <a:latin typeface="+mn-lt"/>
              </a:rPr>
              <a:t>	especially over the next 2 years</a:t>
            </a:r>
            <a:br>
              <a:rPr lang="en-US" dirty="0" smtClean="0">
                <a:latin typeface="+mn-lt"/>
              </a:rPr>
            </a:br>
            <a:r>
              <a:rPr lang="en-US" dirty="0" smtClean="0">
                <a:latin typeface="+mn-lt"/>
              </a:rPr>
              <a:t>	</a:t>
            </a:r>
            <a:br>
              <a:rPr lang="en-US" dirty="0" smtClean="0">
                <a:latin typeface="+mn-lt"/>
              </a:rPr>
            </a:br>
            <a:r>
              <a:rPr lang="en-US" dirty="0" smtClean="0">
                <a:latin typeface="+mn-lt"/>
              </a:rPr>
              <a:t>	Main growth drivers are…</a:t>
            </a:r>
          </a:p>
          <a:p>
            <a:pPr marL="360363" indent="268288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360363" algn="l"/>
              </a:tabLst>
            </a:pPr>
            <a:r>
              <a:rPr lang="en-US" b="1" i="1" dirty="0" smtClean="0">
                <a:latin typeface="+mn-lt"/>
              </a:rPr>
              <a:t>Extend leadership in green technologies (Hybridization)</a:t>
            </a:r>
          </a:p>
          <a:p>
            <a:pPr marL="360363" indent="268288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360363" algn="l"/>
              </a:tabLst>
            </a:pPr>
            <a:r>
              <a:rPr lang="en-US" b="1" i="1" dirty="0" smtClean="0">
                <a:latin typeface="+mn-lt"/>
              </a:rPr>
              <a:t>Product </a:t>
            </a:r>
            <a:r>
              <a:rPr lang="en-US" b="1" i="1" dirty="0">
                <a:latin typeface="+mn-lt"/>
              </a:rPr>
              <a:t>o</a:t>
            </a:r>
            <a:r>
              <a:rPr lang="en-US" b="1" i="1" dirty="0" smtClean="0">
                <a:latin typeface="+mn-lt"/>
              </a:rPr>
              <a:t>ffensive in compact car segment</a:t>
            </a:r>
          </a:p>
          <a:p>
            <a:pPr marL="360363" indent="268288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360363" algn="l"/>
              </a:tabLst>
            </a:pPr>
            <a:r>
              <a:rPr lang="en-US" b="1" i="1" dirty="0" smtClean="0">
                <a:latin typeface="+mn-lt"/>
              </a:rPr>
              <a:t>Re-conquer market share from grey</a:t>
            </a:r>
          </a:p>
          <a:p>
            <a:pPr marL="360363" indent="268288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360363" algn="l"/>
              </a:tabLst>
            </a:pPr>
            <a:r>
              <a:rPr lang="en-US" b="1" i="1" dirty="0" smtClean="0">
                <a:latin typeface="+mn-lt"/>
              </a:rPr>
              <a:t>Expand MB dealer network</a:t>
            </a:r>
          </a:p>
          <a:p>
            <a:pPr marL="360363" indent="268288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360363" algn="l"/>
              </a:tabLst>
            </a:pPr>
            <a:endParaRPr lang="en-US" dirty="0" smtClean="0">
              <a:latin typeface="+mn-lt"/>
            </a:endParaRPr>
          </a:p>
          <a:p>
            <a:pPr>
              <a:spcAft>
                <a:spcPts val="1200"/>
              </a:spcAft>
            </a:pPr>
            <a:r>
              <a:rPr lang="en-US" dirty="0" smtClean="0">
                <a:latin typeface="+mn-lt"/>
              </a:rPr>
              <a:t/>
            </a:r>
            <a:br>
              <a:rPr lang="en-US" dirty="0" smtClean="0">
                <a:latin typeface="+mn-lt"/>
              </a:rPr>
            </a:br>
            <a:endParaRPr lang="en-US" sz="1600" i="1" dirty="0">
              <a:latin typeface="+mn-lt"/>
            </a:endParaRPr>
          </a:p>
        </p:txBody>
      </p:sp>
      <p:sp>
        <p:nvSpPr>
          <p:cNvPr id="7" name="Slide Number Placeholder 2"/>
          <p:cNvSpPr txBox="1">
            <a:spLocks/>
          </p:cNvSpPr>
          <p:nvPr/>
        </p:nvSpPr>
        <p:spPr bwMode="auto">
          <a:xfrm>
            <a:off x="85725" y="6548438"/>
            <a:ext cx="252413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200" rIns="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CorpoS" pitchFamily="2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56D4190-553A-402D-AAA6-1CC8E35BECCD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 pitchFamily="2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7482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C6W1aMvUmhPBcsNesG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C6W1aMvUmhPBcsNesG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C6W1aMvUmhPBcsNesGX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C6W1aMvUmhPBcsNesG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B_presentation_slides_EN">
  <a:themeElements>
    <a:clrScheme name="MB 2011 1">
      <a:dk1>
        <a:srgbClr val="000000"/>
      </a:dk1>
      <a:lt1>
        <a:srgbClr val="FFFFFF"/>
      </a:lt1>
      <a:dk2>
        <a:srgbClr val="B6BBC1"/>
      </a:dk2>
      <a:lt2>
        <a:srgbClr val="EAEAEA"/>
      </a:lt2>
      <a:accent1>
        <a:srgbClr val="003366"/>
      </a:accent1>
      <a:accent2>
        <a:srgbClr val="00ADEF"/>
      </a:accent2>
      <a:accent3>
        <a:srgbClr val="FFFFFF"/>
      </a:accent3>
      <a:accent4>
        <a:srgbClr val="000000"/>
      </a:accent4>
      <a:accent5>
        <a:srgbClr val="AAADB8"/>
      </a:accent5>
      <a:accent6>
        <a:srgbClr val="009CD9"/>
      </a:accent6>
      <a:hlink>
        <a:srgbClr val="0082E6"/>
      </a:hlink>
      <a:folHlink>
        <a:srgbClr val="9F0002"/>
      </a:folHlink>
    </a:clrScheme>
    <a:fontScheme name="MB 2011">
      <a:majorFont>
        <a:latin typeface="CorpoA"/>
        <a:ea typeface=""/>
        <a:cs typeface="Arial"/>
      </a:majorFont>
      <a:minorFont>
        <a:latin typeface="CorpoS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MB 2011 1">
        <a:dk1>
          <a:srgbClr val="000000"/>
        </a:dk1>
        <a:lt1>
          <a:srgbClr val="FFFFFF"/>
        </a:lt1>
        <a:dk2>
          <a:srgbClr val="B6BBC1"/>
        </a:dk2>
        <a:lt2>
          <a:srgbClr val="EAEAEA"/>
        </a:lt2>
        <a:accent1>
          <a:srgbClr val="003366"/>
        </a:accent1>
        <a:accent2>
          <a:srgbClr val="00ADEF"/>
        </a:accent2>
        <a:accent3>
          <a:srgbClr val="FFFFFF"/>
        </a:accent3>
        <a:accent4>
          <a:srgbClr val="000000"/>
        </a:accent4>
        <a:accent5>
          <a:srgbClr val="AAADB8"/>
        </a:accent5>
        <a:accent6>
          <a:srgbClr val="009CD9"/>
        </a:accent6>
        <a:hlink>
          <a:srgbClr val="0082E6"/>
        </a:hlink>
        <a:folHlink>
          <a:srgbClr val="9F000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3_MB_presentation_slides_EN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 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solidFill>
            <a:srgbClr val="333333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spAutoFit/>
      </a:bodyPr>
      <a:lstStyle>
        <a:defPPr algn="ctr"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lnSpc>
            <a:spcPct val="108000"/>
          </a:lnSpc>
          <a:spcAft>
            <a:spcPts val="1008"/>
          </a:spcAft>
          <a:defRPr sz="2000" dirty="0" smtClean="0"/>
        </a:defPPr>
      </a:lstStyle>
    </a:txDef>
  </a:objectDefaults>
  <a:extraClrSchemeLst/>
</a:theme>
</file>

<file path=ppt/theme/theme11.xml><?xml version="1.0" encoding="utf-8"?>
<a:theme xmlns:a="http://schemas.openxmlformats.org/drawingml/2006/main" name="4_MB_presentation_slides_EN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 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solidFill>
            <a:srgbClr val="333333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spAutoFit/>
      </a:bodyPr>
      <a:lstStyle>
        <a:defPPr algn="ctr"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lnSpc>
            <a:spcPct val="108000"/>
          </a:lnSpc>
          <a:spcAft>
            <a:spcPts val="1008"/>
          </a:spcAft>
          <a:defRPr sz="2000" dirty="0" smtClean="0"/>
        </a:defPPr>
      </a:lstStyle>
    </a:txDef>
  </a:objectDefaults>
  <a:extraClrSchemeLst/>
</a:theme>
</file>

<file path=ppt/theme/theme12.xml><?xml version="1.0" encoding="utf-8"?>
<a:theme xmlns:a="http://schemas.openxmlformats.org/drawingml/2006/main" name="5_MB_presentation_slides_EN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 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solidFill>
            <a:srgbClr val="333333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spAutoFit/>
      </a:bodyPr>
      <a:lstStyle>
        <a:defPPr algn="ctr"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lnSpc>
            <a:spcPct val="108000"/>
          </a:lnSpc>
          <a:spcAft>
            <a:spcPts val="1008"/>
          </a:spcAft>
          <a:defRPr sz="2000" dirty="0" smtClean="0"/>
        </a:defPPr>
      </a:lstStyle>
    </a:txDef>
  </a:objectDefaults>
  <a:extraClrSchemeLst/>
</a:theme>
</file>

<file path=ppt/theme/theme13.xml><?xml version="1.0" encoding="utf-8"?>
<a:theme xmlns:a="http://schemas.openxmlformats.org/drawingml/2006/main" name="MBLT_presentation_slides_EN">
  <a:themeElements>
    <a:clrScheme name="MB 2011 1">
      <a:dk1>
        <a:srgbClr val="000000"/>
      </a:dk1>
      <a:lt1>
        <a:srgbClr val="FFFFFF"/>
      </a:lt1>
      <a:dk2>
        <a:srgbClr val="B6BBC1"/>
      </a:dk2>
      <a:lt2>
        <a:srgbClr val="EAEAEA"/>
      </a:lt2>
      <a:accent1>
        <a:srgbClr val="003366"/>
      </a:accent1>
      <a:accent2>
        <a:srgbClr val="00ADEF"/>
      </a:accent2>
      <a:accent3>
        <a:srgbClr val="FFFFFF"/>
      </a:accent3>
      <a:accent4>
        <a:srgbClr val="000000"/>
      </a:accent4>
      <a:accent5>
        <a:srgbClr val="AAADB8"/>
      </a:accent5>
      <a:accent6>
        <a:srgbClr val="009CD9"/>
      </a:accent6>
      <a:hlink>
        <a:srgbClr val="0082E6"/>
      </a:hlink>
      <a:folHlink>
        <a:srgbClr val="9F0002"/>
      </a:folHlink>
    </a:clrScheme>
    <a:fontScheme name="MB 2011">
      <a:majorFont>
        <a:latin typeface="CorpoA"/>
        <a:ea typeface=""/>
        <a:cs typeface="Arial"/>
      </a:majorFont>
      <a:minorFont>
        <a:latin typeface="CorpoS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MB 2011 1">
        <a:dk1>
          <a:srgbClr val="000000"/>
        </a:dk1>
        <a:lt1>
          <a:srgbClr val="FFFFFF"/>
        </a:lt1>
        <a:dk2>
          <a:srgbClr val="B6BBC1"/>
        </a:dk2>
        <a:lt2>
          <a:srgbClr val="EAEAEA"/>
        </a:lt2>
        <a:accent1>
          <a:srgbClr val="003366"/>
        </a:accent1>
        <a:accent2>
          <a:srgbClr val="00ADEF"/>
        </a:accent2>
        <a:accent3>
          <a:srgbClr val="FFFFFF"/>
        </a:accent3>
        <a:accent4>
          <a:srgbClr val="000000"/>
        </a:accent4>
        <a:accent5>
          <a:srgbClr val="AAADB8"/>
        </a:accent5>
        <a:accent6>
          <a:srgbClr val="009CD9"/>
        </a:accent6>
        <a:hlink>
          <a:srgbClr val="0082E6"/>
        </a:hlink>
        <a:folHlink>
          <a:srgbClr val="9F000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6_MB_presentation_slides_EN">
  <a:themeElements>
    <a:clrScheme name="MB 2011 1">
      <a:dk1>
        <a:srgbClr val="000000"/>
      </a:dk1>
      <a:lt1>
        <a:srgbClr val="FFFFFF"/>
      </a:lt1>
      <a:dk2>
        <a:srgbClr val="B6BBC1"/>
      </a:dk2>
      <a:lt2>
        <a:srgbClr val="EAEAEA"/>
      </a:lt2>
      <a:accent1>
        <a:srgbClr val="003366"/>
      </a:accent1>
      <a:accent2>
        <a:srgbClr val="00ADEF"/>
      </a:accent2>
      <a:accent3>
        <a:srgbClr val="FFFFFF"/>
      </a:accent3>
      <a:accent4>
        <a:srgbClr val="000000"/>
      </a:accent4>
      <a:accent5>
        <a:srgbClr val="AAADB8"/>
      </a:accent5>
      <a:accent6>
        <a:srgbClr val="009CD9"/>
      </a:accent6>
      <a:hlink>
        <a:srgbClr val="0082E6"/>
      </a:hlink>
      <a:folHlink>
        <a:srgbClr val="9F0002"/>
      </a:folHlink>
    </a:clrScheme>
    <a:fontScheme name="MB 2011">
      <a:majorFont>
        <a:latin typeface="CorpoA"/>
        <a:ea typeface=""/>
        <a:cs typeface="Arial"/>
      </a:majorFont>
      <a:minorFont>
        <a:latin typeface="CorpoS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MB 2011 1">
        <a:dk1>
          <a:srgbClr val="000000"/>
        </a:dk1>
        <a:lt1>
          <a:srgbClr val="FFFFFF"/>
        </a:lt1>
        <a:dk2>
          <a:srgbClr val="B6BBC1"/>
        </a:dk2>
        <a:lt2>
          <a:srgbClr val="EAEAEA"/>
        </a:lt2>
        <a:accent1>
          <a:srgbClr val="003366"/>
        </a:accent1>
        <a:accent2>
          <a:srgbClr val="00ADEF"/>
        </a:accent2>
        <a:accent3>
          <a:srgbClr val="FFFFFF"/>
        </a:accent3>
        <a:accent4>
          <a:srgbClr val="000000"/>
        </a:accent4>
        <a:accent5>
          <a:srgbClr val="AAADB8"/>
        </a:accent5>
        <a:accent6>
          <a:srgbClr val="009CD9"/>
        </a:accent6>
        <a:hlink>
          <a:srgbClr val="0082E6"/>
        </a:hlink>
        <a:folHlink>
          <a:srgbClr val="9F000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7_MB_presentation_slides_EN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 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solidFill>
            <a:srgbClr val="333333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spAutoFit/>
      </a:bodyPr>
      <a:lstStyle>
        <a:defPPr algn="ctr"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lnSpc>
            <a:spcPct val="108000"/>
          </a:lnSpc>
          <a:spcAft>
            <a:spcPts val="1008"/>
          </a:spcAft>
          <a:defRPr sz="2000" dirty="0" smtClean="0"/>
        </a:defPPr>
      </a:lstStyle>
    </a:txDef>
  </a:objectDefaults>
  <a:extraClrSchemeLst/>
</a:theme>
</file>

<file path=ppt/theme/theme16.xml><?xml version="1.0" encoding="utf-8"?>
<a:theme xmlns:a="http://schemas.openxmlformats.org/drawingml/2006/main" name="MB_presentation_slides_DE">
  <a:themeElements>
    <a:clrScheme name="MB 2011 1">
      <a:dk1>
        <a:srgbClr val="000000"/>
      </a:dk1>
      <a:lt1>
        <a:srgbClr val="FFFFFF"/>
      </a:lt1>
      <a:dk2>
        <a:srgbClr val="B6BBC1"/>
      </a:dk2>
      <a:lt2>
        <a:srgbClr val="EAEAEA"/>
      </a:lt2>
      <a:accent1>
        <a:srgbClr val="003366"/>
      </a:accent1>
      <a:accent2>
        <a:srgbClr val="00ADEF"/>
      </a:accent2>
      <a:accent3>
        <a:srgbClr val="FFFFFF"/>
      </a:accent3>
      <a:accent4>
        <a:srgbClr val="000000"/>
      </a:accent4>
      <a:accent5>
        <a:srgbClr val="AAADB8"/>
      </a:accent5>
      <a:accent6>
        <a:srgbClr val="009CD9"/>
      </a:accent6>
      <a:hlink>
        <a:srgbClr val="0082E6"/>
      </a:hlink>
      <a:folHlink>
        <a:srgbClr val="9F0002"/>
      </a:folHlink>
    </a:clrScheme>
    <a:fontScheme name="MB 2011">
      <a:majorFont>
        <a:latin typeface="CorpoA"/>
        <a:ea typeface=""/>
        <a:cs typeface="Arial"/>
      </a:majorFont>
      <a:minorFont>
        <a:latin typeface="CorpoS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5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>
        <a:spAutoFit/>
      </a:bodyPr>
      <a:lstStyle>
        <a:defPPr>
          <a:defRPr sz="1400" smtClean="0">
            <a:latin typeface="+mn-lt"/>
          </a:defRPr>
        </a:defPPr>
      </a:lstStyle>
    </a:txDef>
  </a:objectDefaults>
  <a:extraClrSchemeLst>
    <a:extraClrScheme>
      <a:clrScheme name="MB 2011 1">
        <a:dk1>
          <a:srgbClr val="000000"/>
        </a:dk1>
        <a:lt1>
          <a:srgbClr val="FFFFFF"/>
        </a:lt1>
        <a:dk2>
          <a:srgbClr val="B6BBC1"/>
        </a:dk2>
        <a:lt2>
          <a:srgbClr val="EAEAEA"/>
        </a:lt2>
        <a:accent1>
          <a:srgbClr val="003366"/>
        </a:accent1>
        <a:accent2>
          <a:srgbClr val="00ADEF"/>
        </a:accent2>
        <a:accent3>
          <a:srgbClr val="FFFFFF"/>
        </a:accent3>
        <a:accent4>
          <a:srgbClr val="000000"/>
        </a:accent4>
        <a:accent5>
          <a:srgbClr val="AAADB8"/>
        </a:accent5>
        <a:accent6>
          <a:srgbClr val="009CD9"/>
        </a:accent6>
        <a:hlink>
          <a:srgbClr val="0082E6"/>
        </a:hlink>
        <a:folHlink>
          <a:srgbClr val="9F000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8_MB_presentation_slides_EN">
  <a:themeElements>
    <a:clrScheme name="MB_presentation_slides_EN 1">
      <a:dk1>
        <a:srgbClr val="000000"/>
      </a:dk1>
      <a:lt1>
        <a:srgbClr val="FFFFFF"/>
      </a:lt1>
      <a:dk2>
        <a:srgbClr val="B6BBC1"/>
      </a:dk2>
      <a:lt2>
        <a:srgbClr val="EAEAEA"/>
      </a:lt2>
      <a:accent1>
        <a:srgbClr val="003366"/>
      </a:accent1>
      <a:accent2>
        <a:srgbClr val="00ADEF"/>
      </a:accent2>
      <a:accent3>
        <a:srgbClr val="FFFFFF"/>
      </a:accent3>
      <a:accent4>
        <a:srgbClr val="000000"/>
      </a:accent4>
      <a:accent5>
        <a:srgbClr val="AAADB8"/>
      </a:accent5>
      <a:accent6>
        <a:srgbClr val="009CD9"/>
      </a:accent6>
      <a:hlink>
        <a:srgbClr val="0082E6"/>
      </a:hlink>
      <a:folHlink>
        <a:srgbClr val="9F0002"/>
      </a:folHlink>
    </a:clrScheme>
    <a:fontScheme name="MB_presentation_slides_EN">
      <a:majorFont>
        <a:latin typeface="CorpoA"/>
        <a:ea typeface=""/>
        <a:cs typeface="Arial"/>
      </a:majorFont>
      <a:minorFont>
        <a:latin typeface="CorpoS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MB_presentation_slides_EN 1">
        <a:dk1>
          <a:srgbClr val="000000"/>
        </a:dk1>
        <a:lt1>
          <a:srgbClr val="FFFFFF"/>
        </a:lt1>
        <a:dk2>
          <a:srgbClr val="B6BBC1"/>
        </a:dk2>
        <a:lt2>
          <a:srgbClr val="EAEAEA"/>
        </a:lt2>
        <a:accent1>
          <a:srgbClr val="003366"/>
        </a:accent1>
        <a:accent2>
          <a:srgbClr val="00ADEF"/>
        </a:accent2>
        <a:accent3>
          <a:srgbClr val="FFFFFF"/>
        </a:accent3>
        <a:accent4>
          <a:srgbClr val="000000"/>
        </a:accent4>
        <a:accent5>
          <a:srgbClr val="AAADB8"/>
        </a:accent5>
        <a:accent6>
          <a:srgbClr val="009CD9"/>
        </a:accent6>
        <a:hlink>
          <a:srgbClr val="0082E6"/>
        </a:hlink>
        <a:folHlink>
          <a:srgbClr val="9F000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Draft">
  <a:themeElements>
    <a:clrScheme name="Draft 1">
      <a:dk1>
        <a:srgbClr val="000000"/>
      </a:dk1>
      <a:lt1>
        <a:srgbClr val="FFFFFF"/>
      </a:lt1>
      <a:dk2>
        <a:srgbClr val="B6BBC1"/>
      </a:dk2>
      <a:lt2>
        <a:srgbClr val="EAEAEA"/>
      </a:lt2>
      <a:accent1>
        <a:srgbClr val="003366"/>
      </a:accent1>
      <a:accent2>
        <a:srgbClr val="00ADEF"/>
      </a:accent2>
      <a:accent3>
        <a:srgbClr val="FFFFFF"/>
      </a:accent3>
      <a:accent4>
        <a:srgbClr val="000000"/>
      </a:accent4>
      <a:accent5>
        <a:srgbClr val="AAADB8"/>
      </a:accent5>
      <a:accent6>
        <a:srgbClr val="009CD9"/>
      </a:accent6>
      <a:hlink>
        <a:srgbClr val="0082E6"/>
      </a:hlink>
      <a:folHlink>
        <a:srgbClr val="9F0002"/>
      </a:folHlink>
    </a:clrScheme>
    <a:fontScheme name="Draft">
      <a:majorFont>
        <a:latin typeface="CorpoA"/>
        <a:ea typeface=""/>
        <a:cs typeface="Arial"/>
      </a:majorFont>
      <a:minorFont>
        <a:latin typeface="CorpoS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raft 1">
        <a:dk1>
          <a:srgbClr val="000000"/>
        </a:dk1>
        <a:lt1>
          <a:srgbClr val="FFFFFF"/>
        </a:lt1>
        <a:dk2>
          <a:srgbClr val="B6BBC1"/>
        </a:dk2>
        <a:lt2>
          <a:srgbClr val="EAEAEA"/>
        </a:lt2>
        <a:accent1>
          <a:srgbClr val="003366"/>
        </a:accent1>
        <a:accent2>
          <a:srgbClr val="00ADEF"/>
        </a:accent2>
        <a:accent3>
          <a:srgbClr val="FFFFFF"/>
        </a:accent3>
        <a:accent4>
          <a:srgbClr val="000000"/>
        </a:accent4>
        <a:accent5>
          <a:srgbClr val="AAADB8"/>
        </a:accent5>
        <a:accent6>
          <a:srgbClr val="009CD9"/>
        </a:accent6>
        <a:hlink>
          <a:srgbClr val="0082E6"/>
        </a:hlink>
        <a:folHlink>
          <a:srgbClr val="9F000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Confidential">
  <a:themeElements>
    <a:clrScheme name="Confidential 1">
      <a:dk1>
        <a:srgbClr val="000000"/>
      </a:dk1>
      <a:lt1>
        <a:srgbClr val="FFFFFF"/>
      </a:lt1>
      <a:dk2>
        <a:srgbClr val="B6BBC1"/>
      </a:dk2>
      <a:lt2>
        <a:srgbClr val="EAEAEA"/>
      </a:lt2>
      <a:accent1>
        <a:srgbClr val="003366"/>
      </a:accent1>
      <a:accent2>
        <a:srgbClr val="00ADEF"/>
      </a:accent2>
      <a:accent3>
        <a:srgbClr val="FFFFFF"/>
      </a:accent3>
      <a:accent4>
        <a:srgbClr val="000000"/>
      </a:accent4>
      <a:accent5>
        <a:srgbClr val="AAADB8"/>
      </a:accent5>
      <a:accent6>
        <a:srgbClr val="009CD9"/>
      </a:accent6>
      <a:hlink>
        <a:srgbClr val="0082E6"/>
      </a:hlink>
      <a:folHlink>
        <a:srgbClr val="9F0002"/>
      </a:folHlink>
    </a:clrScheme>
    <a:fontScheme name="Confidential">
      <a:majorFont>
        <a:latin typeface="CorpoA"/>
        <a:ea typeface=""/>
        <a:cs typeface="Arial"/>
      </a:majorFont>
      <a:minorFont>
        <a:latin typeface="CorpoS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nfidential 1">
        <a:dk1>
          <a:srgbClr val="000000"/>
        </a:dk1>
        <a:lt1>
          <a:srgbClr val="FFFFFF"/>
        </a:lt1>
        <a:dk2>
          <a:srgbClr val="B6BBC1"/>
        </a:dk2>
        <a:lt2>
          <a:srgbClr val="EAEAEA"/>
        </a:lt2>
        <a:accent1>
          <a:srgbClr val="003366"/>
        </a:accent1>
        <a:accent2>
          <a:srgbClr val="00ADEF"/>
        </a:accent2>
        <a:accent3>
          <a:srgbClr val="FFFFFF"/>
        </a:accent3>
        <a:accent4>
          <a:srgbClr val="000000"/>
        </a:accent4>
        <a:accent5>
          <a:srgbClr val="AAADB8"/>
        </a:accent5>
        <a:accent6>
          <a:srgbClr val="009CD9"/>
        </a:accent6>
        <a:hlink>
          <a:srgbClr val="0082E6"/>
        </a:hlink>
        <a:folHlink>
          <a:srgbClr val="9F000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Secret">
  <a:themeElements>
    <a:clrScheme name="Secret 1">
      <a:dk1>
        <a:srgbClr val="000000"/>
      </a:dk1>
      <a:lt1>
        <a:srgbClr val="FFFFFF"/>
      </a:lt1>
      <a:dk2>
        <a:srgbClr val="B6BBC1"/>
      </a:dk2>
      <a:lt2>
        <a:srgbClr val="EAEAEA"/>
      </a:lt2>
      <a:accent1>
        <a:srgbClr val="003366"/>
      </a:accent1>
      <a:accent2>
        <a:srgbClr val="00ADEF"/>
      </a:accent2>
      <a:accent3>
        <a:srgbClr val="FFFFFF"/>
      </a:accent3>
      <a:accent4>
        <a:srgbClr val="000000"/>
      </a:accent4>
      <a:accent5>
        <a:srgbClr val="AAADB8"/>
      </a:accent5>
      <a:accent6>
        <a:srgbClr val="009CD9"/>
      </a:accent6>
      <a:hlink>
        <a:srgbClr val="0082E6"/>
      </a:hlink>
      <a:folHlink>
        <a:srgbClr val="9F0002"/>
      </a:folHlink>
    </a:clrScheme>
    <a:fontScheme name="Secret">
      <a:majorFont>
        <a:latin typeface="CorpoA"/>
        <a:ea typeface=""/>
        <a:cs typeface="Arial"/>
      </a:majorFont>
      <a:minorFont>
        <a:latin typeface="CorpoS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ecret 1">
        <a:dk1>
          <a:srgbClr val="000000"/>
        </a:dk1>
        <a:lt1>
          <a:srgbClr val="FFFFFF"/>
        </a:lt1>
        <a:dk2>
          <a:srgbClr val="B6BBC1"/>
        </a:dk2>
        <a:lt2>
          <a:srgbClr val="EAEAEA"/>
        </a:lt2>
        <a:accent1>
          <a:srgbClr val="003366"/>
        </a:accent1>
        <a:accent2>
          <a:srgbClr val="00ADEF"/>
        </a:accent2>
        <a:accent3>
          <a:srgbClr val="FFFFFF"/>
        </a:accent3>
        <a:accent4>
          <a:srgbClr val="000000"/>
        </a:accent4>
        <a:accent5>
          <a:srgbClr val="AAADB8"/>
        </a:accent5>
        <a:accent6>
          <a:srgbClr val="009CD9"/>
        </a:accent6>
        <a:hlink>
          <a:srgbClr val="0082E6"/>
        </a:hlink>
        <a:folHlink>
          <a:srgbClr val="9F000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Draft + Confidential">
  <a:themeElements>
    <a:clrScheme name="Draft + Confidential 1">
      <a:dk1>
        <a:srgbClr val="000000"/>
      </a:dk1>
      <a:lt1>
        <a:srgbClr val="FFFFFF"/>
      </a:lt1>
      <a:dk2>
        <a:srgbClr val="B6BBC1"/>
      </a:dk2>
      <a:lt2>
        <a:srgbClr val="EAEAEA"/>
      </a:lt2>
      <a:accent1>
        <a:srgbClr val="003366"/>
      </a:accent1>
      <a:accent2>
        <a:srgbClr val="00ADEF"/>
      </a:accent2>
      <a:accent3>
        <a:srgbClr val="FFFFFF"/>
      </a:accent3>
      <a:accent4>
        <a:srgbClr val="000000"/>
      </a:accent4>
      <a:accent5>
        <a:srgbClr val="AAADB8"/>
      </a:accent5>
      <a:accent6>
        <a:srgbClr val="009CD9"/>
      </a:accent6>
      <a:hlink>
        <a:srgbClr val="0082E6"/>
      </a:hlink>
      <a:folHlink>
        <a:srgbClr val="9F0002"/>
      </a:folHlink>
    </a:clrScheme>
    <a:fontScheme name="Draft + Confidential">
      <a:majorFont>
        <a:latin typeface="CorpoA"/>
        <a:ea typeface=""/>
        <a:cs typeface="Arial"/>
      </a:majorFont>
      <a:minorFont>
        <a:latin typeface="CorpoS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raft + Confidential 1">
        <a:dk1>
          <a:srgbClr val="000000"/>
        </a:dk1>
        <a:lt1>
          <a:srgbClr val="FFFFFF"/>
        </a:lt1>
        <a:dk2>
          <a:srgbClr val="B6BBC1"/>
        </a:dk2>
        <a:lt2>
          <a:srgbClr val="EAEAEA"/>
        </a:lt2>
        <a:accent1>
          <a:srgbClr val="003366"/>
        </a:accent1>
        <a:accent2>
          <a:srgbClr val="00ADEF"/>
        </a:accent2>
        <a:accent3>
          <a:srgbClr val="FFFFFF"/>
        </a:accent3>
        <a:accent4>
          <a:srgbClr val="000000"/>
        </a:accent4>
        <a:accent5>
          <a:srgbClr val="AAADB8"/>
        </a:accent5>
        <a:accent6>
          <a:srgbClr val="009CD9"/>
        </a:accent6>
        <a:hlink>
          <a:srgbClr val="0082E6"/>
        </a:hlink>
        <a:folHlink>
          <a:srgbClr val="9F000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Draft + Secret">
  <a:themeElements>
    <a:clrScheme name="Draft + Secret 1">
      <a:dk1>
        <a:srgbClr val="000000"/>
      </a:dk1>
      <a:lt1>
        <a:srgbClr val="FFFFFF"/>
      </a:lt1>
      <a:dk2>
        <a:srgbClr val="B6BBC1"/>
      </a:dk2>
      <a:lt2>
        <a:srgbClr val="EAEAEA"/>
      </a:lt2>
      <a:accent1>
        <a:srgbClr val="003366"/>
      </a:accent1>
      <a:accent2>
        <a:srgbClr val="00ADEF"/>
      </a:accent2>
      <a:accent3>
        <a:srgbClr val="FFFFFF"/>
      </a:accent3>
      <a:accent4>
        <a:srgbClr val="000000"/>
      </a:accent4>
      <a:accent5>
        <a:srgbClr val="AAADB8"/>
      </a:accent5>
      <a:accent6>
        <a:srgbClr val="009CD9"/>
      </a:accent6>
      <a:hlink>
        <a:srgbClr val="0082E6"/>
      </a:hlink>
      <a:folHlink>
        <a:srgbClr val="9F0002"/>
      </a:folHlink>
    </a:clrScheme>
    <a:fontScheme name="Draft + Secret">
      <a:majorFont>
        <a:latin typeface="CorpoA"/>
        <a:ea typeface=""/>
        <a:cs typeface="Arial"/>
      </a:majorFont>
      <a:minorFont>
        <a:latin typeface="CorpoS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raft + Secret 1">
        <a:dk1>
          <a:srgbClr val="000000"/>
        </a:dk1>
        <a:lt1>
          <a:srgbClr val="FFFFFF"/>
        </a:lt1>
        <a:dk2>
          <a:srgbClr val="B6BBC1"/>
        </a:dk2>
        <a:lt2>
          <a:srgbClr val="EAEAEA"/>
        </a:lt2>
        <a:accent1>
          <a:srgbClr val="003366"/>
        </a:accent1>
        <a:accent2>
          <a:srgbClr val="00ADEF"/>
        </a:accent2>
        <a:accent3>
          <a:srgbClr val="FFFFFF"/>
        </a:accent3>
        <a:accent4>
          <a:srgbClr val="000000"/>
        </a:accent4>
        <a:accent5>
          <a:srgbClr val="AAADB8"/>
        </a:accent5>
        <a:accent6>
          <a:srgbClr val="009CD9"/>
        </a:accent6>
        <a:hlink>
          <a:srgbClr val="0082E6"/>
        </a:hlink>
        <a:folHlink>
          <a:srgbClr val="9F000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18_MB_presentation_slides_EN">
  <a:themeElements>
    <a:clrScheme name="MB 2011 1">
      <a:dk1>
        <a:srgbClr val="000000"/>
      </a:dk1>
      <a:lt1>
        <a:srgbClr val="FFFFFF"/>
      </a:lt1>
      <a:dk2>
        <a:srgbClr val="B6BBC1"/>
      </a:dk2>
      <a:lt2>
        <a:srgbClr val="EAEAEA"/>
      </a:lt2>
      <a:accent1>
        <a:srgbClr val="003366"/>
      </a:accent1>
      <a:accent2>
        <a:srgbClr val="00ADEF"/>
      </a:accent2>
      <a:accent3>
        <a:srgbClr val="FFFFFF"/>
      </a:accent3>
      <a:accent4>
        <a:srgbClr val="000000"/>
      </a:accent4>
      <a:accent5>
        <a:srgbClr val="AAADB8"/>
      </a:accent5>
      <a:accent6>
        <a:srgbClr val="009CD9"/>
      </a:accent6>
      <a:hlink>
        <a:srgbClr val="0082E6"/>
      </a:hlink>
      <a:folHlink>
        <a:srgbClr val="9F0002"/>
      </a:folHlink>
    </a:clrScheme>
    <a:fontScheme name="18_MB_presentation_slides_EN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MB 2011 1">
        <a:dk1>
          <a:srgbClr val="000000"/>
        </a:dk1>
        <a:lt1>
          <a:srgbClr val="FFFFFF"/>
        </a:lt1>
        <a:dk2>
          <a:srgbClr val="B6BBC1"/>
        </a:dk2>
        <a:lt2>
          <a:srgbClr val="EAEAEA"/>
        </a:lt2>
        <a:accent1>
          <a:srgbClr val="003366"/>
        </a:accent1>
        <a:accent2>
          <a:srgbClr val="00ADEF"/>
        </a:accent2>
        <a:accent3>
          <a:srgbClr val="FFFFFF"/>
        </a:accent3>
        <a:accent4>
          <a:srgbClr val="000000"/>
        </a:accent4>
        <a:accent5>
          <a:srgbClr val="AAADB8"/>
        </a:accent5>
        <a:accent6>
          <a:srgbClr val="009CD9"/>
        </a:accent6>
        <a:hlink>
          <a:srgbClr val="0082E6"/>
        </a:hlink>
        <a:folHlink>
          <a:srgbClr val="9F000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_MB_presentation_slides_EN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 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solidFill>
            <a:srgbClr val="333333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spAutoFit/>
      </a:bodyPr>
      <a:lstStyle>
        <a:defPPr algn="ctr"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lnSpc>
            <a:spcPct val="108000"/>
          </a:lnSpc>
          <a:spcAft>
            <a:spcPts val="1008"/>
          </a:spcAft>
          <a:defRPr sz="2000" dirty="0" smtClean="0"/>
        </a:defPPr>
      </a:lstStyle>
    </a:txDef>
  </a:objectDefaults>
  <a:extraClrSchemeLst/>
</a:theme>
</file>

<file path=ppt/theme/theme9.xml><?xml version="1.0" encoding="utf-8"?>
<a:theme xmlns:a="http://schemas.openxmlformats.org/drawingml/2006/main" name="2_MB_presentation_slides_EN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 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solidFill>
            <a:srgbClr val="333333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spAutoFit/>
      </a:bodyPr>
      <a:lstStyle>
        <a:defPPr algn="ctr"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lnSpc>
            <a:spcPct val="108000"/>
          </a:lnSpc>
          <a:spcAft>
            <a:spcPts val="1008"/>
          </a:spcAft>
          <a:defRPr sz="2000" dirty="0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B_presentation_slides_EN</Template>
  <TotalTime>0</TotalTime>
  <Words>353</Words>
  <Application>Microsoft Office PowerPoint</Application>
  <PresentationFormat>Bildschirmpräsentation (4:3)</PresentationFormat>
  <Paragraphs>119</Paragraphs>
  <Slides>10</Slides>
  <Notes>5</Notes>
  <HiddenSlides>0</HiddenSlides>
  <MMClips>0</MMClips>
  <ScaleCrop>false</ScaleCrop>
  <HeadingPairs>
    <vt:vector size="6" baseType="variant">
      <vt:variant>
        <vt:lpstr>Design</vt:lpstr>
      </vt:variant>
      <vt:variant>
        <vt:i4>17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0</vt:i4>
      </vt:variant>
    </vt:vector>
  </HeadingPairs>
  <TitlesOfParts>
    <vt:vector size="29" baseType="lpstr">
      <vt:lpstr>MB_presentation_slides_EN</vt:lpstr>
      <vt:lpstr>Draft</vt:lpstr>
      <vt:lpstr>Confidential</vt:lpstr>
      <vt:lpstr>Secret</vt:lpstr>
      <vt:lpstr>Draft + Confidential</vt:lpstr>
      <vt:lpstr>Draft + Secret</vt:lpstr>
      <vt:lpstr>18_MB_presentation_slides_EN</vt:lpstr>
      <vt:lpstr>1_MB_presentation_slides_EN</vt:lpstr>
      <vt:lpstr>2_MB_presentation_slides_EN</vt:lpstr>
      <vt:lpstr>3_MB_presentation_slides_EN</vt:lpstr>
      <vt:lpstr>4_MB_presentation_slides_EN</vt:lpstr>
      <vt:lpstr>5_MB_presentation_slides_EN</vt:lpstr>
      <vt:lpstr>MBLT_presentation_slides_EN</vt:lpstr>
      <vt:lpstr>6_MB_presentation_slides_EN</vt:lpstr>
      <vt:lpstr>7_MB_presentation_slides_EN</vt:lpstr>
      <vt:lpstr>MB_presentation_slides_DE</vt:lpstr>
      <vt:lpstr>8_MB_presentation_slides_EN</vt:lpstr>
      <vt:lpstr>think-cell Slide</vt:lpstr>
      <vt:lpstr>Document</vt:lpstr>
      <vt:lpstr>PowerPoint-Präsentation</vt:lpstr>
      <vt:lpstr>PowerPoint-Präsentation</vt:lpstr>
      <vt:lpstr>Profile Daimler Group Thailand - Locations</vt:lpstr>
      <vt:lpstr>Profile Daimler Group Thailand - Products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Daimler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45 pt on two lines</dc:title>
  <dc:creator>Philipp Schulze</dc:creator>
  <cp:lastModifiedBy>Hauser, Gerd-Udo (096)</cp:lastModifiedBy>
  <cp:revision>522</cp:revision>
  <cp:lastPrinted>2013-05-22T08:37:24Z</cp:lastPrinted>
  <dcterms:created xsi:type="dcterms:W3CDTF">2012-06-21T09:36:11Z</dcterms:created>
  <dcterms:modified xsi:type="dcterms:W3CDTF">2013-05-24T08:15:36Z</dcterms:modified>
</cp:coreProperties>
</file>